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>
  <p:sldMasterIdLst>
    <p:sldMasterId id="2147483788" r:id="rId4"/>
  </p:sldMasterIdLst>
  <p:notesMasterIdLst>
    <p:notesMasterId r:id="rId16"/>
  </p:notesMasterIdLst>
  <p:handoutMasterIdLst>
    <p:handoutMasterId r:id="rId17"/>
  </p:handoutMasterIdLst>
  <p:sldIdLst>
    <p:sldId id="292" r:id="rId5"/>
    <p:sldId id="2147483388" r:id="rId6"/>
    <p:sldId id="2147483390" r:id="rId7"/>
    <p:sldId id="2147483395" r:id="rId8"/>
    <p:sldId id="2147483398" r:id="rId9"/>
    <p:sldId id="2147483399" r:id="rId10"/>
    <p:sldId id="2147483396" r:id="rId11"/>
    <p:sldId id="2147483400" r:id="rId12"/>
    <p:sldId id="2147483391" r:id="rId13"/>
    <p:sldId id="2147483394" r:id="rId14"/>
    <p:sldId id="6063" r:id="rId15"/>
  </p:sldIdLst>
  <p:sldSz cx="12192000" cy="6858000"/>
  <p:notesSz cx="6858000" cy="9144000"/>
  <p:embeddedFontLst>
    <p:embeddedFont>
      <p:font typeface="GSK Precision" pitchFamily="2" charset="0"/>
      <p:regular r:id="rId18"/>
      <p:bold r:id="rId19"/>
      <p:italic r:id="rId20"/>
      <p:boldItalic r:id="rId21"/>
    </p:embeddedFont>
  </p:embeddedFontLst>
  <p:custDataLst>
    <p:tags r:id="rId22"/>
  </p:custDataLst>
  <p:defaultTextStyle>
    <a:defPPr>
      <a:defRPr lang="en-US"/>
    </a:defPPr>
    <a:lvl1pPr marL="0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1pPr>
    <a:lvl2pPr marL="609585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2pPr>
    <a:lvl3pPr marL="1219170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3pPr>
    <a:lvl4pPr marL="1828754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4pPr>
    <a:lvl5pPr marL="2438339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5pPr>
    <a:lvl6pPr marL="3047924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6pPr>
    <a:lvl7pPr marL="3657509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7pPr>
    <a:lvl8pPr marL="4267093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8pPr>
    <a:lvl9pPr marL="4876678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GSK PPT Presentation Kit" id="{5267B487-D309-4727-B92B-59227F8B66A0}">
          <p14:sldIdLst>
            <p14:sldId id="292"/>
            <p14:sldId id="2147483388"/>
            <p14:sldId id="2147483390"/>
            <p14:sldId id="2147483395"/>
            <p14:sldId id="2147483398"/>
            <p14:sldId id="2147483399"/>
            <p14:sldId id="2147483396"/>
            <p14:sldId id="2147483400"/>
            <p14:sldId id="2147483391"/>
            <p14:sldId id="2147483394"/>
            <p14:sldId id="6063"/>
          </p14:sldIdLst>
        </p14:section>
        <p14:section name="Template" id="{13B794D6-CB97-49D0-A7C7-EC3F4703BDB7}">
          <p14:sldIdLst/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/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CA16630B-EA4D-4B30-AB04-6065972109D2}" v="29" dt="2025-09-22T10:38:50.418"/>
  </p1510:revLst>
</p1510:revInfo>
</file>

<file path=ppt/tableStyles.xml><?xml version="1.0" encoding="utf-8"?>
<a:tblStyleLst xmlns:a="http://schemas.openxmlformats.org/drawingml/2006/main" def="{9D7B26C5-4107-4FEC-AEDC-1716B250A1EF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46F890A9-2807-4EBB-B81D-B2AA78EC7F39}" styleName="Dark Style 2 - Accent 5/Accent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972" autoAdjust="0"/>
    <p:restoredTop sz="88853" autoAdjust="0"/>
  </p:normalViewPr>
  <p:slideViewPr>
    <p:cSldViewPr snapToGrid="0" showGuides="1">
      <p:cViewPr varScale="1">
        <p:scale>
          <a:sx n="66" d="100"/>
          <a:sy n="66" d="100"/>
        </p:scale>
        <p:origin x="632" y="272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110" d="100"/>
        <a:sy n="110" d="100"/>
      </p:scale>
      <p:origin x="0" y="0"/>
    </p:cViewPr>
  </p:sorterViewPr>
  <p:notesViewPr>
    <p:cSldViewPr snapToGrid="0" showGuides="1">
      <p:cViewPr varScale="1">
        <p:scale>
          <a:sx n="80" d="100"/>
          <a:sy n="80" d="100"/>
        </p:scale>
        <p:origin x="4002" y="114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font" Target="fonts/font1.fntdata"/><Relationship Id="rId26" Type="http://schemas.openxmlformats.org/officeDocument/2006/relationships/tableStyles" Target="tableStyles.xml"/><Relationship Id="rId3" Type="http://schemas.openxmlformats.org/officeDocument/2006/relationships/customXml" Target="../customXml/item3.xml"/><Relationship Id="rId21" Type="http://schemas.openxmlformats.org/officeDocument/2006/relationships/font" Target="fonts/font4.fntdata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handoutMaster" Target="handoutMasters/handoutMaster1.xml"/><Relationship Id="rId25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notesMaster" Target="notesMasters/notesMaster1.xml"/><Relationship Id="rId20" Type="http://schemas.openxmlformats.org/officeDocument/2006/relationships/font" Target="fonts/font3.fntdata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viewProps" Target="viewProp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presProps" Target="presProps.xml"/><Relationship Id="rId28" Type="http://schemas.microsoft.com/office/2015/10/relationships/revisionInfo" Target="revisionInfo.xml"/><Relationship Id="rId10" Type="http://schemas.openxmlformats.org/officeDocument/2006/relationships/slide" Target="slides/slide6.xml"/><Relationship Id="rId19" Type="http://schemas.openxmlformats.org/officeDocument/2006/relationships/font" Target="fonts/font2.fntdata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tags" Target="tags/tag1.xml"/><Relationship Id="rId27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Muhammad Ubaid Qureshi" userId="00980f34-0243-47e5-8f11-f8e3d17735ab" providerId="ADAL" clId="{DDE464EE-3CF9-4E53-8020-F42A4F314B05}"/>
    <pc:docChg chg="undo custSel addSld delSld modSld modSection">
      <pc:chgData name="Muhammad Ubaid Qureshi" userId="00980f34-0243-47e5-8f11-f8e3d17735ab" providerId="ADAL" clId="{DDE464EE-3CF9-4E53-8020-F42A4F314B05}" dt="2025-09-22T10:39:32.415" v="105" actId="47"/>
      <pc:docMkLst>
        <pc:docMk/>
      </pc:docMkLst>
      <pc:sldChg chg="add del">
        <pc:chgData name="Muhammad Ubaid Qureshi" userId="00980f34-0243-47e5-8f11-f8e3d17735ab" providerId="ADAL" clId="{DDE464EE-3CF9-4E53-8020-F42A4F314B05}" dt="2025-09-22T10:39:32.415" v="105" actId="47"/>
        <pc:sldMkLst>
          <pc:docMk/>
          <pc:sldMk cId="1981732912" sldId="292"/>
        </pc:sldMkLst>
      </pc:sldChg>
      <pc:sldChg chg="addSp delSp modSp mod">
        <pc:chgData name="Muhammad Ubaid Qureshi" userId="00980f34-0243-47e5-8f11-f8e3d17735ab" providerId="ADAL" clId="{DDE464EE-3CF9-4E53-8020-F42A4F314B05}" dt="2025-09-21T13:59:58.863" v="32" actId="14100"/>
        <pc:sldMkLst>
          <pc:docMk/>
          <pc:sldMk cId="2150017934" sldId="6063"/>
        </pc:sldMkLst>
        <pc:spChg chg="add del">
          <ac:chgData name="Muhammad Ubaid Qureshi" userId="00980f34-0243-47e5-8f11-f8e3d17735ab" providerId="ADAL" clId="{DDE464EE-3CF9-4E53-8020-F42A4F314B05}" dt="2025-09-21T13:59:36.087" v="22" actId="478"/>
          <ac:spMkLst>
            <pc:docMk/>
            <pc:sldMk cId="2150017934" sldId="6063"/>
            <ac:spMk id="2" creationId="{FA0D4B78-2251-4955-AC8A-5ACAB1ABC905}"/>
          </ac:spMkLst>
        </pc:spChg>
        <pc:picChg chg="mod">
          <ac:chgData name="Muhammad Ubaid Qureshi" userId="00980f34-0243-47e5-8f11-f8e3d17735ab" providerId="ADAL" clId="{DDE464EE-3CF9-4E53-8020-F42A4F314B05}" dt="2025-09-21T13:59:58.863" v="32" actId="14100"/>
          <ac:picMkLst>
            <pc:docMk/>
            <pc:sldMk cId="2150017934" sldId="6063"/>
            <ac:picMk id="7" creationId="{0E027525-7F60-5E3B-9981-C051CE3522EF}"/>
          </ac:picMkLst>
        </pc:picChg>
      </pc:sldChg>
      <pc:sldChg chg="addSp delSp modSp del mod">
        <pc:chgData name="Muhammad Ubaid Qureshi" userId="00980f34-0243-47e5-8f11-f8e3d17735ab" providerId="ADAL" clId="{DDE464EE-3CF9-4E53-8020-F42A4F314B05}" dt="2025-09-22T10:39:31.324" v="103" actId="47"/>
        <pc:sldMkLst>
          <pc:docMk/>
          <pc:sldMk cId="2923722070" sldId="2147483386"/>
        </pc:sldMkLst>
        <pc:spChg chg="mod">
          <ac:chgData name="Muhammad Ubaid Qureshi" userId="00980f34-0243-47e5-8f11-f8e3d17735ab" providerId="ADAL" clId="{DDE464EE-3CF9-4E53-8020-F42A4F314B05}" dt="2025-09-21T13:56:50.235" v="16" actId="1076"/>
          <ac:spMkLst>
            <pc:docMk/>
            <pc:sldMk cId="2923722070" sldId="2147483386"/>
            <ac:spMk id="8" creationId="{76C65721-A76E-C03A-94CE-662565367DBB}"/>
          </ac:spMkLst>
        </pc:spChg>
        <pc:spChg chg="mod">
          <ac:chgData name="Muhammad Ubaid Qureshi" userId="00980f34-0243-47e5-8f11-f8e3d17735ab" providerId="ADAL" clId="{DDE464EE-3CF9-4E53-8020-F42A4F314B05}" dt="2025-09-21T13:57:49.559" v="19" actId="1076"/>
          <ac:spMkLst>
            <pc:docMk/>
            <pc:sldMk cId="2923722070" sldId="2147483386"/>
            <ac:spMk id="14" creationId="{B9ADB129-FB4E-C450-439E-DD5296CAE656}"/>
          </ac:spMkLst>
        </pc:spChg>
        <pc:picChg chg="mod">
          <ac:chgData name="Muhammad Ubaid Qureshi" userId="00980f34-0243-47e5-8f11-f8e3d17735ab" providerId="ADAL" clId="{DDE464EE-3CF9-4E53-8020-F42A4F314B05}" dt="2025-09-22T10:38:35.200" v="102" actId="14826"/>
          <ac:picMkLst>
            <pc:docMk/>
            <pc:sldMk cId="2923722070" sldId="2147483386"/>
            <ac:picMk id="4" creationId="{5C6E052F-BDD5-3556-A79F-D1214622E443}"/>
          </ac:picMkLst>
        </pc:picChg>
        <pc:picChg chg="mod">
          <ac:chgData name="Muhammad Ubaid Qureshi" userId="00980f34-0243-47e5-8f11-f8e3d17735ab" providerId="ADAL" clId="{DDE464EE-3CF9-4E53-8020-F42A4F314B05}" dt="2025-09-21T14:16:38.238" v="65" actId="1076"/>
          <ac:picMkLst>
            <pc:docMk/>
            <pc:sldMk cId="2923722070" sldId="2147483386"/>
            <ac:picMk id="10" creationId="{EBD95585-53D5-3D92-653B-EA7ABC3F6B63}"/>
          </ac:picMkLst>
        </pc:picChg>
        <pc:picChg chg="add del mod">
          <ac:chgData name="Muhammad Ubaid Qureshi" userId="00980f34-0243-47e5-8f11-f8e3d17735ab" providerId="ADAL" clId="{DDE464EE-3CF9-4E53-8020-F42A4F314B05}" dt="2025-09-21T14:15:56.003" v="60" actId="478"/>
          <ac:picMkLst>
            <pc:docMk/>
            <pc:sldMk cId="2923722070" sldId="2147483386"/>
            <ac:picMk id="1026" creationId="{6D66EAA4-E026-5F39-D311-4BA55F82F333}"/>
          </ac:picMkLst>
        </pc:picChg>
      </pc:sldChg>
      <pc:sldChg chg="modSp mod">
        <pc:chgData name="Muhammad Ubaid Qureshi" userId="00980f34-0243-47e5-8f11-f8e3d17735ab" providerId="ADAL" clId="{DDE464EE-3CF9-4E53-8020-F42A4F314B05}" dt="2025-09-21T14:17:50.390" v="67" actId="14826"/>
        <pc:sldMkLst>
          <pc:docMk/>
          <pc:sldMk cId="4075627672" sldId="2147483388"/>
        </pc:sldMkLst>
        <pc:graphicFrameChg chg="modGraphic">
          <ac:chgData name="Muhammad Ubaid Qureshi" userId="00980f34-0243-47e5-8f11-f8e3d17735ab" providerId="ADAL" clId="{DDE464EE-3CF9-4E53-8020-F42A4F314B05}" dt="2025-09-19T12:00:24.793" v="2" actId="2711"/>
          <ac:graphicFrameMkLst>
            <pc:docMk/>
            <pc:sldMk cId="4075627672" sldId="2147483388"/>
            <ac:graphicFrameMk id="6" creationId="{1ED7F702-C740-E4D1-5569-B8386FFC5B90}"/>
          </ac:graphicFrameMkLst>
        </pc:graphicFrameChg>
        <pc:picChg chg="mod">
          <ac:chgData name="Muhammad Ubaid Qureshi" userId="00980f34-0243-47e5-8f11-f8e3d17735ab" providerId="ADAL" clId="{DDE464EE-3CF9-4E53-8020-F42A4F314B05}" dt="2025-09-21T14:17:50.390" v="67" actId="14826"/>
          <ac:picMkLst>
            <pc:docMk/>
            <pc:sldMk cId="4075627672" sldId="2147483388"/>
            <ac:picMk id="8" creationId="{5F3B5A90-ED46-4991-97C3-44DE88B7C7BF}"/>
          </ac:picMkLst>
        </pc:picChg>
      </pc:sldChg>
      <pc:sldChg chg="addSp delSp modSp mod">
        <pc:chgData name="Muhammad Ubaid Qureshi" userId="00980f34-0243-47e5-8f11-f8e3d17735ab" providerId="ADAL" clId="{DDE464EE-3CF9-4E53-8020-F42A4F314B05}" dt="2025-09-19T12:00:11.064" v="1" actId="478"/>
        <pc:sldMkLst>
          <pc:docMk/>
          <pc:sldMk cId="1686142387" sldId="2147483394"/>
        </pc:sldMkLst>
      </pc:sldChg>
      <pc:sldChg chg="addSp delSp modSp add mod">
        <pc:chgData name="Muhammad Ubaid Qureshi" userId="00980f34-0243-47e5-8f11-f8e3d17735ab" providerId="ADAL" clId="{DDE464EE-3CF9-4E53-8020-F42A4F314B05}" dt="2025-09-22T06:58:37.363" v="100" actId="20577"/>
        <pc:sldMkLst>
          <pc:docMk/>
          <pc:sldMk cId="2354574555" sldId="2147483400"/>
        </pc:sldMkLst>
        <pc:spChg chg="mod">
          <ac:chgData name="Muhammad Ubaid Qureshi" userId="00980f34-0243-47e5-8f11-f8e3d17735ab" providerId="ADAL" clId="{DDE464EE-3CF9-4E53-8020-F42A4F314B05}" dt="2025-09-22T06:58:37.363" v="100" actId="20577"/>
          <ac:spMkLst>
            <pc:docMk/>
            <pc:sldMk cId="2354574555" sldId="2147483400"/>
            <ac:spMk id="5" creationId="{A99EBBBE-C1CA-BF2A-E6B9-DE3D81ED27A6}"/>
          </ac:spMkLst>
        </pc:spChg>
        <pc:picChg chg="add mod">
          <ac:chgData name="Muhammad Ubaid Qureshi" userId="00980f34-0243-47e5-8f11-f8e3d17735ab" providerId="ADAL" clId="{DDE464EE-3CF9-4E53-8020-F42A4F314B05}" dt="2025-09-22T06:57:45.655" v="78" actId="1076"/>
          <ac:picMkLst>
            <pc:docMk/>
            <pc:sldMk cId="2354574555" sldId="2147483400"/>
            <ac:picMk id="3" creationId="{1A0CDFD3-6EA2-DBC4-94DC-64A5BC4B9CF1}"/>
          </ac:picMkLst>
        </pc:picChg>
        <pc:picChg chg="add mod">
          <ac:chgData name="Muhammad Ubaid Qureshi" userId="00980f34-0243-47e5-8f11-f8e3d17735ab" providerId="ADAL" clId="{DDE464EE-3CF9-4E53-8020-F42A4F314B05}" dt="2025-09-22T06:58:20.150" v="83" actId="14826"/>
          <ac:picMkLst>
            <pc:docMk/>
            <pc:sldMk cId="2354574555" sldId="2147483400"/>
            <ac:picMk id="4" creationId="{C452B735-F859-DC20-1CCA-451D8E3BBF63}"/>
          </ac:picMkLst>
        </pc:picChg>
        <pc:picChg chg="del">
          <ac:chgData name="Muhammad Ubaid Qureshi" userId="00980f34-0243-47e5-8f11-f8e3d17735ab" providerId="ADAL" clId="{DDE464EE-3CF9-4E53-8020-F42A4F314B05}" dt="2025-09-22T06:57:33.319" v="71" actId="478"/>
          <ac:picMkLst>
            <pc:docMk/>
            <pc:sldMk cId="2354574555" sldId="2147483400"/>
            <ac:picMk id="6" creationId="{8E387E6F-30E7-695D-9A83-A0498C4BC0E9}"/>
          </ac:picMkLst>
        </pc:picChg>
        <pc:picChg chg="mod">
          <ac:chgData name="Muhammad Ubaid Qureshi" userId="00980f34-0243-47e5-8f11-f8e3d17735ab" providerId="ADAL" clId="{DDE464EE-3CF9-4E53-8020-F42A4F314B05}" dt="2025-09-22T06:58:07.538" v="82" actId="14826"/>
          <ac:picMkLst>
            <pc:docMk/>
            <pc:sldMk cId="2354574555" sldId="2147483400"/>
            <ac:picMk id="7" creationId="{65C7BE6C-D464-33D3-BCC5-A009B55849B2}"/>
          </ac:picMkLst>
        </pc:picChg>
        <pc:picChg chg="del mod">
          <ac:chgData name="Muhammad Ubaid Qureshi" userId="00980f34-0243-47e5-8f11-f8e3d17735ab" providerId="ADAL" clId="{DDE464EE-3CF9-4E53-8020-F42A4F314B05}" dt="2025-09-22T06:57:39.882" v="74" actId="478"/>
          <ac:picMkLst>
            <pc:docMk/>
            <pc:sldMk cId="2354574555" sldId="2147483400"/>
            <ac:picMk id="9" creationId="{497A1D69-D269-CBD5-768D-B4196842A90D}"/>
          </ac:picMkLst>
        </pc:pic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57C5DC5B-BF83-D0F8-F17D-E458477D6A32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CA5C446-58AD-F05A-78BC-F13AD7A39D5D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2FE7CBA-E269-484E-BC88-4EF08BDBC0FE}" type="datetimeFigureOut">
              <a:rPr lang="en-GB" smtClean="0"/>
              <a:t>22/09/2025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BBAEC85-53EE-AA3F-A105-CB67500BDB55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1DCF5B-A081-B9F4-9E5F-FDA0297F2013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B59F402-05D6-4C19-804E-80C8EBA9A784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82692612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050A8971-52B8-4C5A-99D8-986A596F2912}" type="datetimeFigureOut">
              <a:rPr lang="en-GB" smtClean="0"/>
              <a:pPr/>
              <a:t>22/09/2025</a:t>
            </a:fld>
            <a:endParaRPr lang="en-GB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026B53C8-14E4-49A7-A1A5-3BF810B81EBE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0903273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121917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609585" algn="l" defTabSz="121917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1219170" algn="l" defTabSz="121917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828754" algn="l" defTabSz="121917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2438339" algn="l" defTabSz="121917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3047924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6pPr>
    <a:lvl7pPr marL="3657509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7pPr>
    <a:lvl8pPr marL="4267093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8pPr>
    <a:lvl9pPr marL="4876678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sv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5.png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10" Type="http://schemas.openxmlformats.org/officeDocument/2006/relationships/image" Target="../media/image8.svg"/><Relationship Id="rId4" Type="http://schemas.openxmlformats.org/officeDocument/2006/relationships/image" Target="../media/image4.png"/><Relationship Id="rId9" Type="http://schemas.openxmlformats.org/officeDocument/2006/relationships/image" Target="../media/image7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sv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9.png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image" Target="../media/image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3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4.xml"/><Relationship Id="rId5" Type="http://schemas.openxmlformats.org/officeDocument/2006/relationships/image" Target="../media/image12.svg"/><Relationship Id="rId4" Type="http://schemas.openxmlformats.org/officeDocument/2006/relationships/image" Target="../media/image11.png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5.xml"/></Relationships>
</file>

<file path=ppt/slideLayouts/_rels/slideLayout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sv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.png"/><Relationship Id="rId2" Type="http://schemas.openxmlformats.org/officeDocument/2006/relationships/tags" Target="../tags/tag27.xml"/><Relationship Id="rId1" Type="http://schemas.openxmlformats.org/officeDocument/2006/relationships/tags" Target="../tags/tag26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image" Target="../media/image13.jpg"/></Relationships>
</file>

<file path=ppt/slideLayouts/_rels/slideLayout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tags" Target="../tags/tag30.xml"/><Relationship Id="rId7" Type="http://schemas.openxmlformats.org/officeDocument/2006/relationships/image" Target="../media/image1.emf"/><Relationship Id="rId2" Type="http://schemas.openxmlformats.org/officeDocument/2006/relationships/tags" Target="../tags/tag29.xml"/><Relationship Id="rId1" Type="http://schemas.openxmlformats.org/officeDocument/2006/relationships/tags" Target="../tags/tag28.xml"/><Relationship Id="rId6" Type="http://schemas.openxmlformats.org/officeDocument/2006/relationships/oleObject" Target="../embeddings/oleObject6.bin"/><Relationship Id="rId5" Type="http://schemas.openxmlformats.org/officeDocument/2006/relationships/image" Target="../media/image14.jpg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12.svg"/></Relationships>
</file>

<file path=ppt/slideLayouts/_rels/slideLayout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svg"/><Relationship Id="rId3" Type="http://schemas.openxmlformats.org/officeDocument/2006/relationships/image" Target="../media/image15.png"/><Relationship Id="rId7" Type="http://schemas.openxmlformats.org/officeDocument/2006/relationships/image" Target="../media/image6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1.xml"/><Relationship Id="rId6" Type="http://schemas.openxmlformats.org/officeDocument/2006/relationships/image" Target="../media/image5.png"/><Relationship Id="rId5" Type="http://schemas.openxmlformats.org/officeDocument/2006/relationships/image" Target="../media/image12.svg"/><Relationship Id="rId4" Type="http://schemas.openxmlformats.org/officeDocument/2006/relationships/image" Target="../media/image11.pn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2.xml"/><Relationship Id="rId4" Type="http://schemas.openxmlformats.org/officeDocument/2006/relationships/image" Target="../media/image12.svg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3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bg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2892896-0027-443A-D01E-0CE282B3A5C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691361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25" imgH="424" progId="TCLayout.ActiveDocument.1">
                  <p:embed/>
                </p:oleObj>
              </mc:Choice>
              <mc:Fallback>
                <p:oleObj name="think-cell Slide" r:id="rId5" imgW="425" imgH="42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2892896-0027-443A-D01E-0CE282B3A5C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9" name="Freeform: Shape 38">
            <a:extLst>
              <a:ext uri="{FF2B5EF4-FFF2-40B4-BE49-F238E27FC236}">
                <a16:creationId xmlns:a16="http://schemas.microsoft.com/office/drawing/2014/main" id="{8ADD59A9-81EE-0DF4-BF97-645E59790906}"/>
              </a:ext>
            </a:extLst>
          </p:cNvPr>
          <p:cNvSpPr>
            <a:spLocks/>
          </p:cNvSpPr>
          <p:nvPr/>
        </p:nvSpPr>
        <p:spPr bwMode="auto">
          <a:xfrm>
            <a:off x="0" y="0"/>
            <a:ext cx="12192000" cy="3382710"/>
          </a:xfrm>
          <a:custGeom>
            <a:avLst/>
            <a:gdLst>
              <a:gd name="connsiteX0" fmla="*/ 0 w 12192000"/>
              <a:gd name="connsiteY0" fmla="*/ 0 h 3382710"/>
              <a:gd name="connsiteX1" fmla="*/ 12192000 w 12192000"/>
              <a:gd name="connsiteY1" fmla="*/ 0 h 3382710"/>
              <a:gd name="connsiteX2" fmla="*/ 12192000 w 12192000"/>
              <a:gd name="connsiteY2" fmla="*/ 2525484 h 3382710"/>
              <a:gd name="connsiteX3" fmla="*/ 10930890 w 12192000"/>
              <a:gd name="connsiteY3" fmla="*/ 2525484 h 3382710"/>
              <a:gd name="connsiteX4" fmla="*/ 8755659 w 12192000"/>
              <a:gd name="connsiteY4" fmla="*/ 2525484 h 3382710"/>
              <a:gd name="connsiteX5" fmla="*/ 7004114 w 12192000"/>
              <a:gd name="connsiteY5" fmla="*/ 2525484 h 3382710"/>
              <a:gd name="connsiteX6" fmla="*/ 6113526 w 12192000"/>
              <a:gd name="connsiteY6" fmla="*/ 3366922 h 3382710"/>
              <a:gd name="connsiteX7" fmla="*/ 6078476 w 12192000"/>
              <a:gd name="connsiteY7" fmla="*/ 3366922 h 3382710"/>
              <a:gd name="connsiteX8" fmla="*/ 5187887 w 12192000"/>
              <a:gd name="connsiteY8" fmla="*/ 2525484 h 3382710"/>
              <a:gd name="connsiteX9" fmla="*/ 3436341 w 12192000"/>
              <a:gd name="connsiteY9" fmla="*/ 2525484 h 3382710"/>
              <a:gd name="connsiteX10" fmla="*/ 1261112 w 12192000"/>
              <a:gd name="connsiteY10" fmla="*/ 2525484 h 3382710"/>
              <a:gd name="connsiteX11" fmla="*/ 0 w 12192000"/>
              <a:gd name="connsiteY11" fmla="*/ 2525484 h 33827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2192000" h="3382710">
                <a:moveTo>
                  <a:pt x="0" y="0"/>
                </a:moveTo>
                <a:lnTo>
                  <a:pt x="12192000" y="0"/>
                </a:lnTo>
                <a:lnTo>
                  <a:pt x="12192000" y="2525484"/>
                </a:lnTo>
                <a:lnTo>
                  <a:pt x="10930890" y="2525484"/>
                </a:lnTo>
                <a:lnTo>
                  <a:pt x="8755659" y="2525484"/>
                </a:lnTo>
                <a:lnTo>
                  <a:pt x="7004114" y="2525484"/>
                </a:lnTo>
                <a:cubicBezTo>
                  <a:pt x="6541294" y="2525484"/>
                  <a:pt x="6260783" y="2827046"/>
                  <a:pt x="6113526" y="3366922"/>
                </a:cubicBezTo>
                <a:cubicBezTo>
                  <a:pt x="6106478" y="3387973"/>
                  <a:pt x="6085525" y="3387973"/>
                  <a:pt x="6078476" y="3366922"/>
                </a:cubicBezTo>
                <a:cubicBezTo>
                  <a:pt x="5931221" y="2827046"/>
                  <a:pt x="5650707" y="2525484"/>
                  <a:pt x="5187887" y="2525484"/>
                </a:cubicBezTo>
                <a:lnTo>
                  <a:pt x="3436341" y="2525484"/>
                </a:lnTo>
                <a:lnTo>
                  <a:pt x="1261112" y="2525484"/>
                </a:lnTo>
                <a:lnTo>
                  <a:pt x="0" y="2525484"/>
                </a:lnTo>
                <a:close/>
              </a:path>
            </a:pathLst>
          </a:custGeom>
          <a:solidFill>
            <a:schemeClr val="bg1"/>
          </a:solidFill>
          <a:ln>
            <a:noFill/>
            <a:headEnd/>
            <a:tailEnd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0000" tIns="180000" rIns="180000" bIns="180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85750" indent="-285750" algn="l" eaLnBrk="0" fontAlgn="auto" hangingPunct="0"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SzPct val="110000"/>
              <a:buFont typeface="Arial" panose="020B0604020202020204" pitchFamily="34" charset="0"/>
              <a:buChar char="•"/>
            </a:pPr>
            <a:endParaRPr lang="en-GB" sz="1600" kern="0" dirty="0">
              <a:solidFill>
                <a:schemeClr val="tx1"/>
              </a:solidFill>
            </a:endParaRPr>
          </a:p>
        </p:txBody>
      </p:sp>
      <p:sp>
        <p:nvSpPr>
          <p:cNvPr id="17" name="Title 1"/>
          <p:cNvSpPr>
            <a:spLocks noGrp="1"/>
          </p:cNvSpPr>
          <p:nvPr>
            <p:ph type="ctrTitle" hasCustomPrompt="1"/>
          </p:nvPr>
        </p:nvSpPr>
        <p:spPr>
          <a:xfrm>
            <a:off x="520700" y="3940216"/>
            <a:ext cx="11150600" cy="548009"/>
          </a:xfrm>
          <a:prstGeom prst="rect">
            <a:avLst/>
          </a:prstGeom>
        </p:spPr>
        <p:txBody>
          <a:bodyPr vert="horz" anchor="b" anchorCtr="0">
            <a:noAutofit/>
          </a:bodyPr>
          <a:lstStyle>
            <a:lvl1pPr algn="ctr">
              <a:lnSpc>
                <a:spcPct val="100000"/>
              </a:lnSpc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nter presentation title</a:t>
            </a:r>
          </a:p>
        </p:txBody>
      </p:sp>
      <p:sp>
        <p:nvSpPr>
          <p:cNvPr id="20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20700" y="4502943"/>
            <a:ext cx="11150600" cy="475200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2400" i="0">
                <a:solidFill>
                  <a:schemeClr val="bg1"/>
                </a:solidFill>
                <a:latin typeface="+mn-lt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/>
              <a:t>Click to enter subtitle / presenter name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B081E81C-A3CE-333A-79BA-25D8F93FB564}"/>
              </a:ext>
            </a:extLst>
          </p:cNvPr>
          <p:cNvSpPr/>
          <p:nvPr/>
        </p:nvSpPr>
        <p:spPr bwMode="auto">
          <a:xfrm>
            <a:off x="11039475" y="6058694"/>
            <a:ext cx="862012" cy="317500"/>
          </a:xfrm>
          <a:prstGeom prst="rect">
            <a:avLst/>
          </a:prstGeom>
          <a:noFill/>
          <a:ln>
            <a:noFill/>
            <a:headEnd/>
            <a:tailEnd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r" eaLnBrk="0" fontAlgn="auto" hangingPunct="0"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Font typeface="Arial" pitchFamily="34" charset="0"/>
              <a:buNone/>
            </a:pPr>
            <a:r>
              <a:rPr lang="en-GB" sz="1000" b="1" kern="0" dirty="0">
                <a:solidFill>
                  <a:srgbClr val="FFFFFF"/>
                </a:solidFill>
                <a:latin typeface="+mn-lt"/>
              </a:rPr>
              <a:t>gsk.com</a:t>
            </a: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8E1FA932-514A-C951-F952-F8A43667EAEB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1094470" y="6137672"/>
            <a:ext cx="159543" cy="159543"/>
          </a:xfrm>
          <a:prstGeom prst="rect">
            <a:avLst/>
          </a:prstGeom>
        </p:spPr>
      </p:pic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C04D693C-2F89-1D26-FDEF-3BF8AB9EE53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01650" y="230188"/>
            <a:ext cx="1817688" cy="163512"/>
          </a:xfrm>
        </p:spPr>
        <p:txBody>
          <a:bodyPr lIns="0" tIns="72000" rIns="0" bIns="72000" anchor="ctr">
            <a:noAutofit/>
          </a:bodyPr>
          <a:lstStyle>
            <a:lvl1pPr marL="0" indent="0">
              <a:buNone/>
              <a:defRPr sz="1000" b="1">
                <a:solidFill>
                  <a:schemeClr val="tx2"/>
                </a:solidFill>
              </a:defRPr>
            </a:lvl1pPr>
            <a:lvl2pPr marL="357542" indent="0">
              <a:buNone/>
              <a:defRPr>
                <a:solidFill>
                  <a:schemeClr val="bg1"/>
                </a:solidFill>
              </a:defRPr>
            </a:lvl2pPr>
            <a:lvl3pPr marL="719982" indent="0">
              <a:buNone/>
              <a:defRPr>
                <a:solidFill>
                  <a:schemeClr val="bg1"/>
                </a:solidFill>
              </a:defRPr>
            </a:lvl3pPr>
            <a:lvl4pPr marL="1081424" indent="0">
              <a:buNone/>
              <a:defRPr>
                <a:solidFill>
                  <a:schemeClr val="bg1"/>
                </a:solidFill>
              </a:defRPr>
            </a:lvl4pPr>
            <a:lvl5pPr marL="1439964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insert date</a:t>
            </a:r>
          </a:p>
        </p:txBody>
      </p:sp>
      <p:pic>
        <p:nvPicPr>
          <p:cNvPr id="24" name="Picture 23" descr="Icon&#10;&#10;Description automatically generated with medium confidence">
            <a:extLst>
              <a:ext uri="{FF2B5EF4-FFF2-40B4-BE49-F238E27FC236}">
                <a16:creationId xmlns:a16="http://schemas.microsoft.com/office/drawing/2014/main" id="{40DDF016-D509-BED0-161C-B51B4CFCB427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65064" y="0"/>
            <a:ext cx="1499542" cy="1500405"/>
          </a:xfrm>
          <a:prstGeom prst="rect">
            <a:avLst/>
          </a:prstGeom>
        </p:spPr>
      </p:pic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9BE730EF-2ADF-F2EE-3385-DFE2929A2F2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691361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25" imgH="424" progId="TCLayout.ActiveDocument.1">
                  <p:embed/>
                </p:oleObj>
              </mc:Choice>
              <mc:Fallback>
                <p:oleObj name="think-cell Slide" r:id="rId5" imgW="425" imgH="42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9BE730EF-2ADF-F2EE-3385-DFE2929A2F2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reeform: Shape 3">
            <a:extLst>
              <a:ext uri="{FF2B5EF4-FFF2-40B4-BE49-F238E27FC236}">
                <a16:creationId xmlns:a16="http://schemas.microsoft.com/office/drawing/2014/main" id="{868889F4-99D5-C4D7-F0A7-1D0B9BD3F930}"/>
              </a:ext>
            </a:extLst>
          </p:cNvPr>
          <p:cNvSpPr>
            <a:spLocks/>
          </p:cNvSpPr>
          <p:nvPr userDrawn="1"/>
        </p:nvSpPr>
        <p:spPr bwMode="auto">
          <a:xfrm>
            <a:off x="0" y="0"/>
            <a:ext cx="12192000" cy="3382710"/>
          </a:xfrm>
          <a:custGeom>
            <a:avLst/>
            <a:gdLst>
              <a:gd name="connsiteX0" fmla="*/ 0 w 12192000"/>
              <a:gd name="connsiteY0" fmla="*/ 0 h 3382710"/>
              <a:gd name="connsiteX1" fmla="*/ 12192000 w 12192000"/>
              <a:gd name="connsiteY1" fmla="*/ 0 h 3382710"/>
              <a:gd name="connsiteX2" fmla="*/ 12192000 w 12192000"/>
              <a:gd name="connsiteY2" fmla="*/ 2525484 h 3382710"/>
              <a:gd name="connsiteX3" fmla="*/ 10930890 w 12192000"/>
              <a:gd name="connsiteY3" fmla="*/ 2525484 h 3382710"/>
              <a:gd name="connsiteX4" fmla="*/ 8755659 w 12192000"/>
              <a:gd name="connsiteY4" fmla="*/ 2525484 h 3382710"/>
              <a:gd name="connsiteX5" fmla="*/ 7004114 w 12192000"/>
              <a:gd name="connsiteY5" fmla="*/ 2525484 h 3382710"/>
              <a:gd name="connsiteX6" fmla="*/ 6113526 w 12192000"/>
              <a:gd name="connsiteY6" fmla="*/ 3366922 h 3382710"/>
              <a:gd name="connsiteX7" fmla="*/ 6078476 w 12192000"/>
              <a:gd name="connsiteY7" fmla="*/ 3366922 h 3382710"/>
              <a:gd name="connsiteX8" fmla="*/ 5187887 w 12192000"/>
              <a:gd name="connsiteY8" fmla="*/ 2525484 h 3382710"/>
              <a:gd name="connsiteX9" fmla="*/ 3436341 w 12192000"/>
              <a:gd name="connsiteY9" fmla="*/ 2525484 h 3382710"/>
              <a:gd name="connsiteX10" fmla="*/ 1261112 w 12192000"/>
              <a:gd name="connsiteY10" fmla="*/ 2525484 h 3382710"/>
              <a:gd name="connsiteX11" fmla="*/ 0 w 12192000"/>
              <a:gd name="connsiteY11" fmla="*/ 2525484 h 33827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2192000" h="3382710">
                <a:moveTo>
                  <a:pt x="0" y="0"/>
                </a:moveTo>
                <a:lnTo>
                  <a:pt x="12192000" y="0"/>
                </a:lnTo>
                <a:lnTo>
                  <a:pt x="12192000" y="2525484"/>
                </a:lnTo>
                <a:lnTo>
                  <a:pt x="10930890" y="2525484"/>
                </a:lnTo>
                <a:lnTo>
                  <a:pt x="8755659" y="2525484"/>
                </a:lnTo>
                <a:lnTo>
                  <a:pt x="7004114" y="2525484"/>
                </a:lnTo>
                <a:cubicBezTo>
                  <a:pt x="6541294" y="2525484"/>
                  <a:pt x="6260783" y="2827046"/>
                  <a:pt x="6113526" y="3366922"/>
                </a:cubicBezTo>
                <a:cubicBezTo>
                  <a:pt x="6106478" y="3387973"/>
                  <a:pt x="6085525" y="3387973"/>
                  <a:pt x="6078476" y="3366922"/>
                </a:cubicBezTo>
                <a:cubicBezTo>
                  <a:pt x="5931221" y="2827046"/>
                  <a:pt x="5650707" y="2525484"/>
                  <a:pt x="5187887" y="2525484"/>
                </a:cubicBezTo>
                <a:lnTo>
                  <a:pt x="3436341" y="2525484"/>
                </a:lnTo>
                <a:lnTo>
                  <a:pt x="1261112" y="2525484"/>
                </a:lnTo>
                <a:lnTo>
                  <a:pt x="0" y="2525484"/>
                </a:lnTo>
                <a:close/>
              </a:path>
            </a:pathLst>
          </a:custGeom>
          <a:solidFill>
            <a:schemeClr val="bg1"/>
          </a:solidFill>
          <a:ln>
            <a:noFill/>
            <a:headEnd/>
            <a:tailEnd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0000" tIns="180000" rIns="180000" bIns="180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85750" indent="-285750" algn="l" eaLnBrk="0" fontAlgn="auto" hangingPunct="0"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SzPct val="110000"/>
              <a:buFont typeface="Arial" panose="020B0604020202020204" pitchFamily="34" charset="0"/>
              <a:buChar char="•"/>
            </a:pPr>
            <a:endParaRPr lang="en-GB" sz="1600" kern="0" dirty="0">
              <a:solidFill>
                <a:schemeClr val="tx1"/>
              </a:solidFill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56174A64-5B94-1C65-071E-17BF59F9F083}"/>
              </a:ext>
            </a:extLst>
          </p:cNvPr>
          <p:cNvSpPr/>
          <p:nvPr userDrawn="1"/>
        </p:nvSpPr>
        <p:spPr bwMode="auto">
          <a:xfrm>
            <a:off x="11039475" y="6058694"/>
            <a:ext cx="862012" cy="317500"/>
          </a:xfrm>
          <a:prstGeom prst="rect">
            <a:avLst/>
          </a:prstGeom>
          <a:noFill/>
          <a:ln>
            <a:noFill/>
            <a:headEnd/>
            <a:tailEnd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r" eaLnBrk="0" fontAlgn="auto" hangingPunct="0"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Font typeface="Arial" pitchFamily="34" charset="0"/>
              <a:buNone/>
            </a:pPr>
            <a:r>
              <a:rPr lang="en-GB" sz="1000" b="1" kern="0" dirty="0">
                <a:solidFill>
                  <a:srgbClr val="FFFFFF"/>
                </a:solidFill>
                <a:latin typeface="+mn-lt"/>
              </a:rPr>
              <a:t>gsk.com</a:t>
            </a:r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1C5EB409-F04C-F34E-2784-56F55DA5C77F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1094470" y="6137672"/>
            <a:ext cx="159543" cy="159543"/>
          </a:xfrm>
          <a:prstGeom prst="rect">
            <a:avLst/>
          </a:prstGeom>
        </p:spPr>
      </p:pic>
      <p:pic>
        <p:nvPicPr>
          <p:cNvPr id="10" name="Picture 9" descr="Icon&#10;&#10;Description automatically generated with medium confidence">
            <a:extLst>
              <a:ext uri="{FF2B5EF4-FFF2-40B4-BE49-F238E27FC236}">
                <a16:creationId xmlns:a16="http://schemas.microsoft.com/office/drawing/2014/main" id="{AFA72B64-3B0D-5F16-E0A3-81BFBFF335F1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65064" y="0"/>
            <a:ext cx="1499542" cy="15004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722517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F5768D83-B8CA-09C4-C389-ACE31191A4C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65125" y="1303338"/>
            <a:ext cx="3916881" cy="4477804"/>
          </a:xfrm>
          <a:custGeom>
            <a:avLst/>
            <a:gdLst>
              <a:gd name="connsiteX0" fmla="*/ 167483 w 3916881"/>
              <a:gd name="connsiteY0" fmla="*/ 0 h 4477804"/>
              <a:gd name="connsiteX1" fmla="*/ 3485355 w 3916881"/>
              <a:gd name="connsiteY1" fmla="*/ 0 h 4477804"/>
              <a:gd name="connsiteX2" fmla="*/ 3652838 w 3916881"/>
              <a:gd name="connsiteY2" fmla="*/ 167483 h 4477804"/>
              <a:gd name="connsiteX3" fmla="*/ 3652838 w 3916881"/>
              <a:gd name="connsiteY3" fmla="*/ 517226 h 4477804"/>
              <a:gd name="connsiteX4" fmla="*/ 3912021 w 3916881"/>
              <a:gd name="connsiteY4" fmla="*/ 791524 h 4477804"/>
              <a:gd name="connsiteX5" fmla="*/ 3912021 w 3916881"/>
              <a:gd name="connsiteY5" fmla="*/ 802323 h 4477804"/>
              <a:gd name="connsiteX6" fmla="*/ 3652838 w 3916881"/>
              <a:gd name="connsiteY6" fmla="*/ 1076623 h 4477804"/>
              <a:gd name="connsiteX7" fmla="*/ 3652838 w 3916881"/>
              <a:gd name="connsiteY7" fmla="*/ 4310321 h 4477804"/>
              <a:gd name="connsiteX8" fmla="*/ 3485355 w 3916881"/>
              <a:gd name="connsiteY8" fmla="*/ 4477804 h 4477804"/>
              <a:gd name="connsiteX9" fmla="*/ 167483 w 3916881"/>
              <a:gd name="connsiteY9" fmla="*/ 4477804 h 4477804"/>
              <a:gd name="connsiteX10" fmla="*/ 0 w 3916881"/>
              <a:gd name="connsiteY10" fmla="*/ 4310321 h 4477804"/>
              <a:gd name="connsiteX11" fmla="*/ 0 w 3916881"/>
              <a:gd name="connsiteY11" fmla="*/ 167483 h 4477804"/>
              <a:gd name="connsiteX12" fmla="*/ 167483 w 3916881"/>
              <a:gd name="connsiteY12" fmla="*/ 0 h 44778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3916881" h="4477804">
                <a:moveTo>
                  <a:pt x="167483" y="0"/>
                </a:moveTo>
                <a:lnTo>
                  <a:pt x="3485355" y="0"/>
                </a:lnTo>
                <a:cubicBezTo>
                  <a:pt x="3577853" y="0"/>
                  <a:pt x="3652838" y="74985"/>
                  <a:pt x="3652838" y="167483"/>
                </a:cubicBezTo>
                <a:lnTo>
                  <a:pt x="3652838" y="517226"/>
                </a:lnTo>
                <a:cubicBezTo>
                  <a:pt x="3652838" y="659776"/>
                  <a:pt x="3745710" y="746167"/>
                  <a:pt x="3912021" y="791524"/>
                </a:cubicBezTo>
                <a:cubicBezTo>
                  <a:pt x="3918501" y="793683"/>
                  <a:pt x="3918501" y="800164"/>
                  <a:pt x="3912021" y="802323"/>
                </a:cubicBezTo>
                <a:cubicBezTo>
                  <a:pt x="3745710" y="847679"/>
                  <a:pt x="3652838" y="934073"/>
                  <a:pt x="3652838" y="1076623"/>
                </a:cubicBezTo>
                <a:lnTo>
                  <a:pt x="3652838" y="4310321"/>
                </a:lnTo>
                <a:cubicBezTo>
                  <a:pt x="3652838" y="4402819"/>
                  <a:pt x="3577853" y="4477804"/>
                  <a:pt x="3485355" y="4477804"/>
                </a:cubicBezTo>
                <a:lnTo>
                  <a:pt x="167483" y="4477804"/>
                </a:lnTo>
                <a:cubicBezTo>
                  <a:pt x="74985" y="4477804"/>
                  <a:pt x="0" y="4402819"/>
                  <a:pt x="0" y="4310321"/>
                </a:cubicBezTo>
                <a:lnTo>
                  <a:pt x="0" y="167483"/>
                </a:lnTo>
                <a:cubicBezTo>
                  <a:pt x="0" y="74985"/>
                  <a:pt x="74985" y="0"/>
                  <a:pt x="167483" y="0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wrap="square" lIns="36000" tIns="36000" rIns="360000" bIns="36000">
            <a:noAutofit/>
          </a:bodyPr>
          <a:lstStyle>
            <a:lvl1pPr marL="0" indent="0">
              <a:buClr>
                <a:schemeClr val="bg1"/>
              </a:buClr>
              <a:buNone/>
              <a:defRPr>
                <a:solidFill>
                  <a:schemeClr val="bg1"/>
                </a:solidFill>
              </a:defRPr>
            </a:lvl1pPr>
            <a:lvl2pPr marL="357542" indent="0">
              <a:buClr>
                <a:schemeClr val="bg1"/>
              </a:buClr>
              <a:buNone/>
              <a:defRPr>
                <a:solidFill>
                  <a:schemeClr val="bg1"/>
                </a:solidFill>
              </a:defRPr>
            </a:lvl2pPr>
            <a:lvl3pPr marL="719982" indent="0">
              <a:buClr>
                <a:schemeClr val="bg1"/>
              </a:buClr>
              <a:buNone/>
              <a:defRPr>
                <a:solidFill>
                  <a:schemeClr val="bg1"/>
                </a:solidFill>
              </a:defRPr>
            </a:lvl3pPr>
            <a:lvl4pPr marL="1081424" indent="0">
              <a:buClr>
                <a:schemeClr val="bg1"/>
              </a:buClr>
              <a:buNone/>
              <a:defRPr>
                <a:solidFill>
                  <a:schemeClr val="bg1"/>
                </a:solidFill>
              </a:defRPr>
            </a:lvl4pPr>
            <a:lvl5pPr marL="1439964" indent="0">
              <a:buClr>
                <a:schemeClr val="bg1"/>
              </a:buClr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 content ONLY. </a:t>
            </a:r>
            <a:br>
              <a:rPr lang="en-US" dirty="0"/>
            </a:br>
            <a:r>
              <a:rPr lang="en-US" dirty="0"/>
              <a:t>If text content appears outside of the grey placeholder please reduce the size of the font. </a:t>
            </a:r>
          </a:p>
        </p:txBody>
      </p:sp>
      <p:sp>
        <p:nvSpPr>
          <p:cNvPr id="20" name="Text Placeholder 5"/>
          <p:cNvSpPr>
            <a:spLocks noGrp="1"/>
          </p:cNvSpPr>
          <p:nvPr>
            <p:ph type="body" sz="quarter" idx="20" hasCustomPrompt="1"/>
          </p:nvPr>
        </p:nvSpPr>
        <p:spPr>
          <a:xfrm>
            <a:off x="365125" y="5791943"/>
            <a:ext cx="3652837" cy="298800"/>
          </a:xfrm>
          <a:prstGeom prst="rect">
            <a:avLst/>
          </a:prstGeom>
        </p:spPr>
        <p:txBody>
          <a:bodyPr wrap="square" lIns="0" tIns="0" rIns="0" bIns="0" anchor="b" anchorCtr="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800" baseline="0"/>
            </a:lvl1pPr>
            <a:lvl2pPr marL="357542" indent="0">
              <a:buNone/>
              <a:defRPr sz="1067"/>
            </a:lvl2pPr>
            <a:lvl3pPr marL="719982" indent="0">
              <a:buNone/>
              <a:defRPr sz="1067"/>
            </a:lvl3pPr>
            <a:lvl4pPr marL="1081424" indent="0">
              <a:buNone/>
              <a:defRPr sz="1067"/>
            </a:lvl4pPr>
            <a:lvl5pPr marL="1439964" indent="0">
              <a:buNone/>
              <a:defRPr sz="1067"/>
            </a:lvl5pPr>
          </a:lstStyle>
          <a:p>
            <a:pPr lvl="0"/>
            <a:r>
              <a:rPr lang="en-GB"/>
              <a:t>Insert Source text here</a:t>
            </a:r>
            <a:endParaRPr lang="en-GB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101A55F3-CAC9-450A-8B8C-0D0326082407}"/>
              </a:ext>
            </a:extLst>
          </p:cNvPr>
          <p:cNvSpPr>
            <a:spLocks noGrp="1"/>
          </p:cNvSpPr>
          <p:nvPr>
            <p:ph type="dt" sz="half" idx="21"/>
          </p:nvPr>
        </p:nvSpPr>
        <p:spPr/>
        <p:txBody>
          <a:bodyPr/>
          <a:lstStyle/>
          <a:p>
            <a:fld id="{39AF67FF-E09E-42E7-8CF4-0C88178FECBB}" type="datetime4">
              <a:rPr lang="en-GB" smtClean="0"/>
              <a:t>22 September 2025</a:t>
            </a:fld>
            <a:endParaRPr lang="en-GB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FA6F4AF4-B7CB-44A2-A774-A5EE13FDE7C2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A690446-B95A-4BA4-8B97-68649C262B11}"/>
              </a:ext>
            </a:extLst>
          </p:cNvPr>
          <p:cNvSpPr>
            <a:spLocks noGrp="1"/>
          </p:cNvSpPr>
          <p:nvPr>
            <p:ph type="sldNum" sz="quarter" idx="23"/>
          </p:nvPr>
        </p:nvSpPr>
        <p:spPr/>
        <p:txBody>
          <a:bodyPr/>
          <a:lstStyle/>
          <a:p>
            <a:fld id="{9F9F533D-B52E-4A2F-BF72-0ADD2D94BD75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9" name="Text Placeholder 5"/>
          <p:cNvSpPr>
            <a:spLocks noGrp="1"/>
          </p:cNvSpPr>
          <p:nvPr>
            <p:ph type="body" sz="quarter" idx="19" hasCustomPrompt="1"/>
          </p:nvPr>
        </p:nvSpPr>
        <p:spPr>
          <a:xfrm>
            <a:off x="4270374" y="5791943"/>
            <a:ext cx="7554913" cy="299295"/>
          </a:xfrm>
          <a:prstGeom prst="rect">
            <a:avLst/>
          </a:prstGeom>
        </p:spPr>
        <p:txBody>
          <a:bodyPr wrap="square" lIns="0" tIns="0" rIns="0" bIns="0" anchor="b" anchorCtr="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800" baseline="0"/>
            </a:lvl1pPr>
            <a:lvl2pPr marL="357542" indent="0">
              <a:buNone/>
              <a:defRPr sz="1067"/>
            </a:lvl2pPr>
            <a:lvl3pPr marL="719982" indent="0">
              <a:buNone/>
              <a:defRPr sz="1067"/>
            </a:lvl3pPr>
            <a:lvl4pPr marL="1081424" indent="0">
              <a:buNone/>
              <a:defRPr sz="1067"/>
            </a:lvl4pPr>
            <a:lvl5pPr marL="1439964" indent="0">
              <a:buNone/>
              <a:defRPr sz="1067"/>
            </a:lvl5pPr>
          </a:lstStyle>
          <a:p>
            <a:pPr lvl="0"/>
            <a:r>
              <a:rPr lang="en-GB"/>
              <a:t>Insert Source text here</a:t>
            </a:r>
            <a:endParaRPr lang="en-GB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B643D66-CBAC-8A3C-D941-445E2D7EFCEE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270374" y="1303338"/>
            <a:ext cx="7554913" cy="4478337"/>
          </a:xfrm>
        </p:spPr>
        <p:txBody>
          <a:bodyPr lIns="36000" tIns="36000" rIns="36000" bIns="36000">
            <a:noAutofit/>
          </a:bodyPr>
          <a:lstStyle>
            <a:lvl1pPr marL="0" indent="0">
              <a:buNone/>
              <a:defRPr/>
            </a:lvl1pPr>
            <a:lvl2pPr marL="357542" indent="0">
              <a:buNone/>
              <a:defRPr/>
            </a:lvl2pPr>
            <a:lvl3pPr marL="719982" indent="0">
              <a:buNone/>
              <a:defRPr/>
            </a:lvl3pPr>
            <a:lvl4pPr marL="1081424" indent="0">
              <a:buNone/>
              <a:defRPr/>
            </a:lvl4pPr>
            <a:lvl5pPr marL="1439964" indent="0">
              <a:buNone/>
              <a:defRPr/>
            </a:lvl5pPr>
          </a:lstStyle>
          <a:p>
            <a:pPr lvl="0"/>
            <a:r>
              <a:rPr lang="en-US" dirty="0"/>
              <a:t>Click to enter TEXT content ONLY.</a:t>
            </a:r>
            <a:br>
              <a:rPr lang="en-US" dirty="0"/>
            </a:br>
            <a:r>
              <a:rPr lang="en-US" dirty="0"/>
              <a:t>If text content appears too large please reduce the size of the font. </a:t>
            </a: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8C40724D-5874-C573-BE68-E74D3056C42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5125" y="242888"/>
            <a:ext cx="11460163" cy="43088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6DDC75F0-FC33-50C5-4836-14CADF87FA8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5125" y="694950"/>
            <a:ext cx="11460164" cy="352800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2400" i="0">
                <a:solidFill>
                  <a:schemeClr val="tx1"/>
                </a:solidFill>
                <a:latin typeface="+mn-lt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/>
              <a:t>Click to enter slide subtitle</a:t>
            </a:r>
          </a:p>
        </p:txBody>
      </p:sp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7ED293B4-51DD-6A15-3268-DC88E0FC951D}"/>
              </a:ext>
            </a:extLst>
          </p:cNvPr>
          <p:cNvSpPr/>
          <p:nvPr/>
        </p:nvSpPr>
        <p:spPr>
          <a:xfrm>
            <a:off x="0" y="184645"/>
            <a:ext cx="264043" cy="559397"/>
          </a:xfrm>
          <a:custGeom>
            <a:avLst/>
            <a:gdLst>
              <a:gd name="connsiteX0" fmla="*/ 0 w 857257"/>
              <a:gd name="connsiteY0" fmla="*/ 0 h 1816170"/>
              <a:gd name="connsiteX1" fmla="*/ 841477 w 857257"/>
              <a:gd name="connsiteY1" fmla="*/ 890550 h 1816170"/>
              <a:gd name="connsiteX2" fmla="*/ 841477 w 857257"/>
              <a:gd name="connsiteY2" fmla="*/ 925611 h 1816170"/>
              <a:gd name="connsiteX3" fmla="*/ 0 w 857257"/>
              <a:gd name="connsiteY3" fmla="*/ 1816170 h 1816170"/>
              <a:gd name="connsiteX4" fmla="*/ 0 w 857257"/>
              <a:gd name="connsiteY4" fmla="*/ 0 h 18161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57257" h="1816170">
                <a:moveTo>
                  <a:pt x="0" y="0"/>
                </a:moveTo>
                <a:cubicBezTo>
                  <a:pt x="0" y="462811"/>
                  <a:pt x="301523" y="743293"/>
                  <a:pt x="841477" y="890550"/>
                </a:cubicBezTo>
                <a:cubicBezTo>
                  <a:pt x="862517" y="897560"/>
                  <a:pt x="862517" y="918601"/>
                  <a:pt x="841477" y="925611"/>
                </a:cubicBezTo>
                <a:cubicBezTo>
                  <a:pt x="301523" y="1072868"/>
                  <a:pt x="0" y="1353360"/>
                  <a:pt x="0" y="181617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dirty="0"/>
          </a:p>
        </p:txBody>
      </p:sp>
      <p:sp>
        <p:nvSpPr>
          <p:cNvPr id="2" name="Freeform: Shape 1">
            <a:extLst>
              <a:ext uri="{FF2B5EF4-FFF2-40B4-BE49-F238E27FC236}">
                <a16:creationId xmlns:a16="http://schemas.microsoft.com/office/drawing/2014/main" id="{DFAEA03D-D3A8-FC8F-37D0-7EAB8EC481ED}"/>
              </a:ext>
            </a:extLst>
          </p:cNvPr>
          <p:cNvSpPr/>
          <p:nvPr userDrawn="1"/>
        </p:nvSpPr>
        <p:spPr>
          <a:xfrm>
            <a:off x="0" y="184645"/>
            <a:ext cx="264043" cy="559397"/>
          </a:xfrm>
          <a:custGeom>
            <a:avLst/>
            <a:gdLst>
              <a:gd name="connsiteX0" fmla="*/ 0 w 857257"/>
              <a:gd name="connsiteY0" fmla="*/ 0 h 1816170"/>
              <a:gd name="connsiteX1" fmla="*/ 841477 w 857257"/>
              <a:gd name="connsiteY1" fmla="*/ 890550 h 1816170"/>
              <a:gd name="connsiteX2" fmla="*/ 841477 w 857257"/>
              <a:gd name="connsiteY2" fmla="*/ 925611 h 1816170"/>
              <a:gd name="connsiteX3" fmla="*/ 0 w 857257"/>
              <a:gd name="connsiteY3" fmla="*/ 1816170 h 1816170"/>
              <a:gd name="connsiteX4" fmla="*/ 0 w 857257"/>
              <a:gd name="connsiteY4" fmla="*/ 0 h 18161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57257" h="1816170">
                <a:moveTo>
                  <a:pt x="0" y="0"/>
                </a:moveTo>
                <a:cubicBezTo>
                  <a:pt x="0" y="462811"/>
                  <a:pt x="301523" y="743293"/>
                  <a:pt x="841477" y="890550"/>
                </a:cubicBezTo>
                <a:cubicBezTo>
                  <a:pt x="862517" y="897560"/>
                  <a:pt x="862517" y="918601"/>
                  <a:pt x="841477" y="925611"/>
                </a:cubicBezTo>
                <a:cubicBezTo>
                  <a:pt x="301523" y="1072868"/>
                  <a:pt x="0" y="1353360"/>
                  <a:pt x="0" y="181617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957439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Text Placeholder 25">
            <a:extLst>
              <a:ext uri="{FF2B5EF4-FFF2-40B4-BE49-F238E27FC236}">
                <a16:creationId xmlns:a16="http://schemas.microsoft.com/office/drawing/2014/main" id="{1A35D6C9-1CA0-9878-3F7C-4F790C689C5F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6223000" y="1303338"/>
            <a:ext cx="5602288" cy="4488605"/>
          </a:xfrm>
          <a:prstGeom prst="roundRect">
            <a:avLst>
              <a:gd name="adj" fmla="val 4147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tIns="1080000">
            <a:noAutofit/>
          </a:bodyPr>
          <a:lstStyle>
            <a:lvl1pPr marL="0" indent="0">
              <a:buNone/>
              <a:defRPr/>
            </a:lvl1pPr>
            <a:lvl2pPr marL="357542" indent="0">
              <a:buNone/>
              <a:defRPr/>
            </a:lvl2pPr>
            <a:lvl3pPr marL="719982" indent="0">
              <a:buNone/>
              <a:defRPr/>
            </a:lvl3pPr>
            <a:lvl4pPr marL="1081424" indent="0">
              <a:buNone/>
              <a:defRPr/>
            </a:lvl4pPr>
            <a:lvl5pPr marL="1439964" indent="0">
              <a:buNone/>
              <a:defRPr/>
            </a:lvl5pPr>
          </a:lstStyle>
          <a:p>
            <a:pPr lvl="0"/>
            <a:r>
              <a:rPr lang="en-US" dirty="0"/>
              <a:t>Click to enter TEXT content ONLY.</a:t>
            </a:r>
            <a:br>
              <a:rPr lang="en-US" dirty="0"/>
            </a:br>
            <a:r>
              <a:rPr lang="en-US" dirty="0"/>
              <a:t>If text appears outside of grey placeholder please reduce the size of the font.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3637B329-27DE-51CE-F4B6-EB1199B2177F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365125" y="1303338"/>
            <a:ext cx="5601600" cy="4488605"/>
          </a:xfrm>
          <a:prstGeom prst="roundRect">
            <a:avLst>
              <a:gd name="adj" fmla="val 3915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tIns="1080000">
            <a:noAutofit/>
          </a:bodyPr>
          <a:lstStyle>
            <a:lvl1pPr marL="0" indent="0">
              <a:buNone/>
              <a:defRPr/>
            </a:lvl1pPr>
            <a:lvl2pPr marL="357542" indent="0">
              <a:buNone/>
              <a:defRPr/>
            </a:lvl2pPr>
            <a:lvl3pPr marL="719982" indent="0">
              <a:buNone/>
              <a:defRPr/>
            </a:lvl3pPr>
            <a:lvl4pPr marL="1081424" indent="0">
              <a:buNone/>
              <a:defRPr/>
            </a:lvl4pPr>
            <a:lvl5pPr marL="1439964" indent="0">
              <a:buNone/>
              <a:defRPr/>
            </a:lvl5pPr>
          </a:lstStyle>
          <a:p>
            <a:pPr lvl="0"/>
            <a:r>
              <a:rPr lang="en-US" dirty="0"/>
              <a:t>Click to enter TEXT content ONLY.</a:t>
            </a:r>
            <a:br>
              <a:rPr lang="en-US" dirty="0"/>
            </a:br>
            <a:r>
              <a:rPr lang="en-US" dirty="0"/>
              <a:t>If text appears outside of grey placeholder please reduce the size of the font.</a:t>
            </a:r>
          </a:p>
        </p:txBody>
      </p:sp>
      <p:sp>
        <p:nvSpPr>
          <p:cNvPr id="23" name="Text Placeholder 5"/>
          <p:cNvSpPr>
            <a:spLocks noGrp="1"/>
          </p:cNvSpPr>
          <p:nvPr>
            <p:ph type="body" sz="quarter" idx="31" hasCustomPrompt="1"/>
          </p:nvPr>
        </p:nvSpPr>
        <p:spPr>
          <a:xfrm>
            <a:off x="365125" y="5791943"/>
            <a:ext cx="5607050" cy="299295"/>
          </a:xfrm>
          <a:prstGeom prst="rect">
            <a:avLst/>
          </a:prstGeom>
        </p:spPr>
        <p:txBody>
          <a:bodyPr wrap="square" lIns="0" tIns="0" rIns="0" bIns="0" anchor="b" anchorCtr="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800" baseline="0"/>
            </a:lvl1pPr>
            <a:lvl2pPr marL="357542" indent="0">
              <a:buNone/>
              <a:defRPr sz="1067"/>
            </a:lvl2pPr>
            <a:lvl3pPr marL="719982" indent="0">
              <a:buNone/>
              <a:defRPr sz="1067"/>
            </a:lvl3pPr>
            <a:lvl4pPr marL="1081424" indent="0">
              <a:buNone/>
              <a:defRPr sz="1067"/>
            </a:lvl4pPr>
            <a:lvl5pPr marL="1439964" indent="0">
              <a:buNone/>
              <a:defRPr sz="1067"/>
            </a:lvl5pPr>
          </a:lstStyle>
          <a:p>
            <a:pPr lvl="0"/>
            <a:r>
              <a:rPr lang="en-GB" dirty="0"/>
              <a:t>Insert Source text here</a:t>
            </a:r>
          </a:p>
        </p:txBody>
      </p:sp>
      <p:sp>
        <p:nvSpPr>
          <p:cNvPr id="24" name="Text Placeholder 5"/>
          <p:cNvSpPr>
            <a:spLocks noGrp="1"/>
          </p:cNvSpPr>
          <p:nvPr>
            <p:ph type="body" sz="quarter" idx="20" hasCustomPrompt="1"/>
          </p:nvPr>
        </p:nvSpPr>
        <p:spPr>
          <a:xfrm>
            <a:off x="6216325" y="5792438"/>
            <a:ext cx="5608963" cy="298800"/>
          </a:xfrm>
          <a:prstGeom prst="rect">
            <a:avLst/>
          </a:prstGeom>
        </p:spPr>
        <p:txBody>
          <a:bodyPr wrap="square" lIns="0" tIns="0" rIns="0" bIns="0" anchor="b" anchorCtr="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800" baseline="0"/>
            </a:lvl1pPr>
            <a:lvl2pPr marL="357542" indent="0">
              <a:buNone/>
              <a:defRPr sz="1067"/>
            </a:lvl2pPr>
            <a:lvl3pPr marL="719982" indent="0">
              <a:buNone/>
              <a:defRPr sz="1067"/>
            </a:lvl3pPr>
            <a:lvl4pPr marL="1081424" indent="0">
              <a:buNone/>
              <a:defRPr sz="1067"/>
            </a:lvl4pPr>
            <a:lvl5pPr marL="1439964" indent="0">
              <a:buNone/>
              <a:defRPr sz="1067"/>
            </a:lvl5pPr>
          </a:lstStyle>
          <a:p>
            <a:pPr lvl="0"/>
            <a:r>
              <a:rPr lang="en-GB" dirty="0"/>
              <a:t>Insert Source text her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88E3DBB-00A9-4F08-A07C-9ED9733E007D}"/>
              </a:ext>
            </a:extLst>
          </p:cNvPr>
          <p:cNvSpPr>
            <a:spLocks noGrp="1"/>
          </p:cNvSpPr>
          <p:nvPr>
            <p:ph type="dt" sz="half" idx="32"/>
          </p:nvPr>
        </p:nvSpPr>
        <p:spPr/>
        <p:txBody>
          <a:bodyPr/>
          <a:lstStyle/>
          <a:p>
            <a:fld id="{D2390426-9D2D-4F00-A428-511448A9836C}" type="datetime4">
              <a:rPr lang="en-GB" smtClean="0"/>
              <a:t>22 September 2025</a:t>
            </a:fld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EE37A7E-4BE8-4B01-BC5B-6FE33BA2DB0A}"/>
              </a:ext>
            </a:extLst>
          </p:cNvPr>
          <p:cNvSpPr>
            <a:spLocks noGrp="1"/>
          </p:cNvSpPr>
          <p:nvPr>
            <p:ph type="ftr" sz="quarter" idx="33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2D87596A-DFCB-4141-B4D9-E82973630099}"/>
              </a:ext>
            </a:extLst>
          </p:cNvPr>
          <p:cNvSpPr>
            <a:spLocks noGrp="1"/>
          </p:cNvSpPr>
          <p:nvPr>
            <p:ph type="sldNum" sz="quarter" idx="34"/>
          </p:nvPr>
        </p:nvSpPr>
        <p:spPr/>
        <p:txBody>
          <a:bodyPr/>
          <a:lstStyle/>
          <a:p>
            <a:fld id="{9F9F533D-B52E-4A2F-BF72-0ADD2D94BD75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9" name="Text Placeholder 2">
            <a:extLst>
              <a:ext uri="{FF2B5EF4-FFF2-40B4-BE49-F238E27FC236}">
                <a16:creationId xmlns:a16="http://schemas.microsoft.com/office/drawing/2014/main" id="{ED8B1503-3382-4C3A-A672-A88D048E0DA0}"/>
              </a:ext>
            </a:extLst>
          </p:cNvPr>
          <p:cNvSpPr>
            <a:spLocks noGrp="1"/>
          </p:cNvSpPr>
          <p:nvPr>
            <p:ph type="body" idx="19" hasCustomPrompt="1"/>
          </p:nvPr>
        </p:nvSpPr>
        <p:spPr>
          <a:xfrm>
            <a:off x="419100" y="1454538"/>
            <a:ext cx="5493650" cy="781200"/>
          </a:xfrm>
          <a:prstGeom prst="rect">
            <a:avLst/>
          </a:prstGeom>
        </p:spPr>
        <p:txBody>
          <a:bodyPr wrap="square" lIns="36000" tIns="36000" rIns="36000" bIns="36000" anchor="t" anchorCtr="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24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/>
              <a:t>Click to enter</a:t>
            </a:r>
            <a:br>
              <a:rPr lang="en-GB" dirty="0"/>
            </a:br>
            <a:r>
              <a:rPr lang="en-GB" dirty="0"/>
              <a:t>subheading text</a:t>
            </a:r>
          </a:p>
        </p:txBody>
      </p:sp>
      <p:sp>
        <p:nvSpPr>
          <p:cNvPr id="30" name="Text Placeholder 2">
            <a:extLst>
              <a:ext uri="{FF2B5EF4-FFF2-40B4-BE49-F238E27FC236}">
                <a16:creationId xmlns:a16="http://schemas.microsoft.com/office/drawing/2014/main" id="{7CC1C57B-5831-4901-8605-655DBB075B25}"/>
              </a:ext>
            </a:extLst>
          </p:cNvPr>
          <p:cNvSpPr>
            <a:spLocks noGrp="1"/>
          </p:cNvSpPr>
          <p:nvPr>
            <p:ph type="body" idx="21" hasCustomPrompt="1"/>
          </p:nvPr>
        </p:nvSpPr>
        <p:spPr>
          <a:xfrm>
            <a:off x="6277344" y="1454538"/>
            <a:ext cx="5493600" cy="781200"/>
          </a:xfrm>
          <a:prstGeom prst="rect">
            <a:avLst/>
          </a:prstGeom>
        </p:spPr>
        <p:txBody>
          <a:bodyPr wrap="square" lIns="36000" tIns="36000" rIns="36000" bIns="36000" anchor="t" anchorCtr="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24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/>
              <a:t>Click to enter</a:t>
            </a:r>
            <a:br>
              <a:rPr lang="en-GB" dirty="0"/>
            </a:br>
            <a:r>
              <a:rPr lang="en-GB" dirty="0"/>
              <a:t>subheading text</a:t>
            </a: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2B8AF01B-B7EE-69F0-3113-1E07C2D5872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5125" y="242888"/>
            <a:ext cx="11460163" cy="43088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A10D87C1-85C7-40B7-3EF5-0997E04A30B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5125" y="694950"/>
            <a:ext cx="11460164" cy="352800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2400" i="0">
                <a:solidFill>
                  <a:schemeClr val="tx1"/>
                </a:solidFill>
                <a:latin typeface="+mn-lt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/>
              <a:t>Click to enter slide subtitle</a:t>
            </a:r>
          </a:p>
        </p:txBody>
      </p:sp>
      <p:sp>
        <p:nvSpPr>
          <p:cNvPr id="17" name="Freeform: Shape 16">
            <a:extLst>
              <a:ext uri="{FF2B5EF4-FFF2-40B4-BE49-F238E27FC236}">
                <a16:creationId xmlns:a16="http://schemas.microsoft.com/office/drawing/2014/main" id="{00DBE383-AB10-CC3B-D342-10443E02C937}"/>
              </a:ext>
            </a:extLst>
          </p:cNvPr>
          <p:cNvSpPr/>
          <p:nvPr/>
        </p:nvSpPr>
        <p:spPr>
          <a:xfrm>
            <a:off x="0" y="184645"/>
            <a:ext cx="264043" cy="559397"/>
          </a:xfrm>
          <a:custGeom>
            <a:avLst/>
            <a:gdLst>
              <a:gd name="connsiteX0" fmla="*/ 0 w 857257"/>
              <a:gd name="connsiteY0" fmla="*/ 0 h 1816170"/>
              <a:gd name="connsiteX1" fmla="*/ 841477 w 857257"/>
              <a:gd name="connsiteY1" fmla="*/ 890550 h 1816170"/>
              <a:gd name="connsiteX2" fmla="*/ 841477 w 857257"/>
              <a:gd name="connsiteY2" fmla="*/ 925611 h 1816170"/>
              <a:gd name="connsiteX3" fmla="*/ 0 w 857257"/>
              <a:gd name="connsiteY3" fmla="*/ 1816170 h 1816170"/>
              <a:gd name="connsiteX4" fmla="*/ 0 w 857257"/>
              <a:gd name="connsiteY4" fmla="*/ 0 h 18161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57257" h="1816170">
                <a:moveTo>
                  <a:pt x="0" y="0"/>
                </a:moveTo>
                <a:cubicBezTo>
                  <a:pt x="0" y="462811"/>
                  <a:pt x="301523" y="743293"/>
                  <a:pt x="841477" y="890550"/>
                </a:cubicBezTo>
                <a:cubicBezTo>
                  <a:pt x="862517" y="897560"/>
                  <a:pt x="862517" y="918601"/>
                  <a:pt x="841477" y="925611"/>
                </a:cubicBezTo>
                <a:cubicBezTo>
                  <a:pt x="301523" y="1072868"/>
                  <a:pt x="0" y="1353360"/>
                  <a:pt x="0" y="181617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dirty="0"/>
          </a:p>
        </p:txBody>
      </p:sp>
      <p:sp>
        <p:nvSpPr>
          <p:cNvPr id="2" name="Freeform: Shape 1">
            <a:extLst>
              <a:ext uri="{FF2B5EF4-FFF2-40B4-BE49-F238E27FC236}">
                <a16:creationId xmlns:a16="http://schemas.microsoft.com/office/drawing/2014/main" id="{6E7A351A-B15B-3DA1-263F-714BB7432559}"/>
              </a:ext>
            </a:extLst>
          </p:cNvPr>
          <p:cNvSpPr/>
          <p:nvPr userDrawn="1"/>
        </p:nvSpPr>
        <p:spPr>
          <a:xfrm>
            <a:off x="0" y="184645"/>
            <a:ext cx="264043" cy="559397"/>
          </a:xfrm>
          <a:custGeom>
            <a:avLst/>
            <a:gdLst>
              <a:gd name="connsiteX0" fmla="*/ 0 w 857257"/>
              <a:gd name="connsiteY0" fmla="*/ 0 h 1816170"/>
              <a:gd name="connsiteX1" fmla="*/ 841477 w 857257"/>
              <a:gd name="connsiteY1" fmla="*/ 890550 h 1816170"/>
              <a:gd name="connsiteX2" fmla="*/ 841477 w 857257"/>
              <a:gd name="connsiteY2" fmla="*/ 925611 h 1816170"/>
              <a:gd name="connsiteX3" fmla="*/ 0 w 857257"/>
              <a:gd name="connsiteY3" fmla="*/ 1816170 h 1816170"/>
              <a:gd name="connsiteX4" fmla="*/ 0 w 857257"/>
              <a:gd name="connsiteY4" fmla="*/ 0 h 18161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57257" h="1816170">
                <a:moveTo>
                  <a:pt x="0" y="0"/>
                </a:moveTo>
                <a:cubicBezTo>
                  <a:pt x="0" y="462811"/>
                  <a:pt x="301523" y="743293"/>
                  <a:pt x="841477" y="890550"/>
                </a:cubicBezTo>
                <a:cubicBezTo>
                  <a:pt x="862517" y="897560"/>
                  <a:pt x="862517" y="918601"/>
                  <a:pt x="841477" y="925611"/>
                </a:cubicBezTo>
                <a:cubicBezTo>
                  <a:pt x="301523" y="1072868"/>
                  <a:pt x="0" y="1353360"/>
                  <a:pt x="0" y="181617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575636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Video, Title and Subtitle (16x9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Media Placeholder 5"/>
          <p:cNvSpPr>
            <a:spLocks noGrp="1" noChangeAspect="1"/>
          </p:cNvSpPr>
          <p:nvPr>
            <p:ph type="media" sz="quarter" idx="12" hasCustomPrompt="1"/>
          </p:nvPr>
        </p:nvSpPr>
        <p:spPr>
          <a:xfrm>
            <a:off x="2106790" y="1303338"/>
            <a:ext cx="7978421" cy="4487862"/>
          </a:xfrm>
          <a:prstGeom prst="roundRect">
            <a:avLst>
              <a:gd name="adj" fmla="val 3977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lIns="108000" tIns="1008000">
            <a:noAutofit/>
          </a:bodyPr>
          <a:lstStyle>
            <a:lvl1pPr marL="0" indent="0" algn="ctr">
              <a:buNone/>
              <a:defRPr sz="2200" baseline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[Click on the film icon to insert video]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FF92204-289D-4897-A24D-92B4E89E417A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8E42D3BA-5EF1-4DB6-ACB2-E19A79A4A64E}" type="datetime4">
              <a:rPr lang="en-GB" smtClean="0"/>
              <a:t>22 September 2025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D8A5764-43D8-49B1-8CCF-1E44D258B4F9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2BA25ACE-65A6-48E3-AD24-12A240BC4B44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9F9F533D-B52E-4A2F-BF72-0ADD2D94BD75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BF9DC526-9754-7DE6-EAC5-B9EB6B6E3C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5125" y="242888"/>
            <a:ext cx="11460163" cy="43088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F9C0347F-097D-6010-8D87-88D141F8B2F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5125" y="694950"/>
            <a:ext cx="11460164" cy="352800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2400" i="0">
                <a:solidFill>
                  <a:schemeClr val="tx1"/>
                </a:solidFill>
                <a:latin typeface="+mn-lt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/>
              <a:t>Click to enter slide subtitle</a:t>
            </a:r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A123D2E9-B2C7-255F-E578-0BCEF8C8BFC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65125" y="5792438"/>
            <a:ext cx="11460163" cy="298800"/>
          </a:xfrm>
          <a:prstGeom prst="rect">
            <a:avLst/>
          </a:prstGeom>
        </p:spPr>
        <p:txBody>
          <a:bodyPr wrap="square" lIns="0" tIns="0" rIns="0" bIns="0" anchor="b" anchorCtr="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800" baseline="0"/>
            </a:lvl1pPr>
            <a:lvl2pPr marL="357542" indent="0">
              <a:buNone/>
              <a:defRPr sz="1067"/>
            </a:lvl2pPr>
            <a:lvl3pPr marL="719982" indent="0">
              <a:buNone/>
              <a:defRPr sz="1067"/>
            </a:lvl3pPr>
            <a:lvl4pPr marL="1081424" indent="0">
              <a:buNone/>
              <a:defRPr sz="1067"/>
            </a:lvl4pPr>
            <a:lvl5pPr marL="1439964" indent="0">
              <a:buNone/>
              <a:defRPr sz="1067"/>
            </a:lvl5pPr>
          </a:lstStyle>
          <a:p>
            <a:pPr lvl="0"/>
            <a:r>
              <a:rPr lang="en-GB"/>
              <a:t>Insert Source text here</a:t>
            </a:r>
            <a:endParaRPr lang="en-GB" dirty="0"/>
          </a:p>
        </p:txBody>
      </p:sp>
      <p:sp>
        <p:nvSpPr>
          <p:cNvPr id="15" name="Freeform: Shape 14">
            <a:extLst>
              <a:ext uri="{FF2B5EF4-FFF2-40B4-BE49-F238E27FC236}">
                <a16:creationId xmlns:a16="http://schemas.microsoft.com/office/drawing/2014/main" id="{73180677-148E-F381-0168-9327D51EF5CE}"/>
              </a:ext>
            </a:extLst>
          </p:cNvPr>
          <p:cNvSpPr/>
          <p:nvPr/>
        </p:nvSpPr>
        <p:spPr>
          <a:xfrm>
            <a:off x="0" y="184645"/>
            <a:ext cx="264043" cy="559397"/>
          </a:xfrm>
          <a:custGeom>
            <a:avLst/>
            <a:gdLst>
              <a:gd name="connsiteX0" fmla="*/ 0 w 857257"/>
              <a:gd name="connsiteY0" fmla="*/ 0 h 1816170"/>
              <a:gd name="connsiteX1" fmla="*/ 841477 w 857257"/>
              <a:gd name="connsiteY1" fmla="*/ 890550 h 1816170"/>
              <a:gd name="connsiteX2" fmla="*/ 841477 w 857257"/>
              <a:gd name="connsiteY2" fmla="*/ 925611 h 1816170"/>
              <a:gd name="connsiteX3" fmla="*/ 0 w 857257"/>
              <a:gd name="connsiteY3" fmla="*/ 1816170 h 1816170"/>
              <a:gd name="connsiteX4" fmla="*/ 0 w 857257"/>
              <a:gd name="connsiteY4" fmla="*/ 0 h 18161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57257" h="1816170">
                <a:moveTo>
                  <a:pt x="0" y="0"/>
                </a:moveTo>
                <a:cubicBezTo>
                  <a:pt x="0" y="462811"/>
                  <a:pt x="301523" y="743293"/>
                  <a:pt x="841477" y="890550"/>
                </a:cubicBezTo>
                <a:cubicBezTo>
                  <a:pt x="862517" y="897560"/>
                  <a:pt x="862517" y="918601"/>
                  <a:pt x="841477" y="925611"/>
                </a:cubicBezTo>
                <a:cubicBezTo>
                  <a:pt x="301523" y="1072868"/>
                  <a:pt x="0" y="1353360"/>
                  <a:pt x="0" y="181617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dirty="0"/>
          </a:p>
        </p:txBody>
      </p:sp>
      <p:sp>
        <p:nvSpPr>
          <p:cNvPr id="2" name="Freeform: Shape 1">
            <a:extLst>
              <a:ext uri="{FF2B5EF4-FFF2-40B4-BE49-F238E27FC236}">
                <a16:creationId xmlns:a16="http://schemas.microsoft.com/office/drawing/2014/main" id="{1E10F851-9956-BDE2-1DA3-0125BE310B9D}"/>
              </a:ext>
            </a:extLst>
          </p:cNvPr>
          <p:cNvSpPr/>
          <p:nvPr userDrawn="1"/>
        </p:nvSpPr>
        <p:spPr>
          <a:xfrm>
            <a:off x="0" y="184645"/>
            <a:ext cx="264043" cy="559397"/>
          </a:xfrm>
          <a:custGeom>
            <a:avLst/>
            <a:gdLst>
              <a:gd name="connsiteX0" fmla="*/ 0 w 857257"/>
              <a:gd name="connsiteY0" fmla="*/ 0 h 1816170"/>
              <a:gd name="connsiteX1" fmla="*/ 841477 w 857257"/>
              <a:gd name="connsiteY1" fmla="*/ 890550 h 1816170"/>
              <a:gd name="connsiteX2" fmla="*/ 841477 w 857257"/>
              <a:gd name="connsiteY2" fmla="*/ 925611 h 1816170"/>
              <a:gd name="connsiteX3" fmla="*/ 0 w 857257"/>
              <a:gd name="connsiteY3" fmla="*/ 1816170 h 1816170"/>
              <a:gd name="connsiteX4" fmla="*/ 0 w 857257"/>
              <a:gd name="connsiteY4" fmla="*/ 0 h 18161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57257" h="1816170">
                <a:moveTo>
                  <a:pt x="0" y="0"/>
                </a:moveTo>
                <a:cubicBezTo>
                  <a:pt x="0" y="462811"/>
                  <a:pt x="301523" y="743293"/>
                  <a:pt x="841477" y="890550"/>
                </a:cubicBezTo>
                <a:cubicBezTo>
                  <a:pt x="862517" y="897560"/>
                  <a:pt x="862517" y="918601"/>
                  <a:pt x="841477" y="925611"/>
                </a:cubicBezTo>
                <a:cubicBezTo>
                  <a:pt x="301523" y="1072868"/>
                  <a:pt x="0" y="1353360"/>
                  <a:pt x="0" y="181617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5869597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Video Widescreen (16x9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85344A2-1C9C-FB10-07A8-CED6CF02745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9F9F533D-B52E-4A2F-BF72-0ADD2D94BD75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5" name="Media Placeholder 5"/>
          <p:cNvSpPr>
            <a:spLocks noGrp="1" noChangeAspect="1"/>
          </p:cNvSpPr>
          <p:nvPr>
            <p:ph type="media" sz="quarter" idx="12" hasCustomPrompt="1"/>
          </p:nvPr>
        </p:nvSpPr>
        <p:spPr>
          <a:xfrm>
            <a:off x="242888" y="242888"/>
            <a:ext cx="11352439" cy="6384013"/>
          </a:xfrm>
          <a:prstGeom prst="roundRect">
            <a:avLst>
              <a:gd name="adj" fmla="val 2914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lIns="108000" tIns="108000" bIns="1224000" anchor="ctr">
            <a:noAutofit/>
          </a:bodyPr>
          <a:lstStyle>
            <a:lvl1pPr marL="0" indent="0" algn="ctr">
              <a:buNone/>
              <a:defRPr sz="2200" i="0" baseline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[Click on the film icon to insert video]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9840176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 a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8"/>
          <p:cNvSpPr>
            <a:spLocks noGrp="1"/>
          </p:cNvSpPr>
          <p:nvPr>
            <p:ph type="pic" sz="quarter" idx="14" hasCustomPrompt="1"/>
          </p:nvPr>
        </p:nvSpPr>
        <p:spPr>
          <a:xfrm>
            <a:off x="8172451" y="1303338"/>
            <a:ext cx="3652838" cy="4787862"/>
          </a:xfrm>
          <a:prstGeom prst="roundRect">
            <a:avLst>
              <a:gd name="adj" fmla="val 5043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lIns="180000" tIns="576000" bIns="72000" anchor="ctr">
            <a:noAutofit/>
          </a:bodyPr>
          <a:lstStyle>
            <a:lvl1pPr marL="0" indent="0" algn="ctr">
              <a:buNone/>
              <a:defRPr sz="2000" i="0" baseline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[Click here to insert image]</a:t>
            </a:r>
            <a:br>
              <a:rPr lang="en-GB" dirty="0"/>
            </a:br>
            <a:br>
              <a:rPr lang="en-GB" dirty="0"/>
            </a:br>
            <a:br>
              <a:rPr lang="en-GB" dirty="0"/>
            </a:br>
            <a:br>
              <a:rPr lang="en-GB" dirty="0"/>
            </a:br>
            <a:br>
              <a:rPr lang="en-GB" dirty="0"/>
            </a:br>
            <a:r>
              <a:rPr lang="en-GB" dirty="0"/>
              <a:t>[The image can then be scaled within the frame by using the ‘Crop’ feature in the ‘Picture Format’ tab of the ribbon.</a:t>
            </a:r>
            <a:r>
              <a:rPr lang="en-US" dirty="0"/>
              <a:t> Right click on image to add/edit alt text</a:t>
            </a:r>
            <a:r>
              <a:rPr lang="en-GB" dirty="0"/>
              <a:t>]</a:t>
            </a:r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365125" y="1304101"/>
            <a:ext cx="7554913" cy="4490737"/>
          </a:xfrm>
          <a:prstGeom prst="rect">
            <a:avLst/>
          </a:prstGeom>
        </p:spPr>
        <p:txBody>
          <a:bodyPr lIns="36000" tIns="36000" rIns="36000" bIns="36000">
            <a:noAutofit/>
          </a:bodyPr>
          <a:lstStyle>
            <a:lvl1pPr marL="0" indent="0">
              <a:buClr>
                <a:schemeClr val="tx2"/>
              </a:buClr>
              <a:buFont typeface="Arial" panose="020B0604020202020204" pitchFamily="34" charset="0"/>
              <a:buNone/>
              <a:defRPr/>
            </a:lvl1pPr>
            <a:lvl2pPr marL="357542" indent="0">
              <a:buClr>
                <a:schemeClr val="tx1"/>
              </a:buClr>
              <a:buFont typeface="Arial" panose="020B0604020202020204" pitchFamily="34" charset="0"/>
              <a:buNone/>
              <a:defRPr/>
            </a:lvl2pPr>
            <a:lvl3pPr marL="719982" indent="0">
              <a:buClr>
                <a:schemeClr val="tx1"/>
              </a:buClr>
              <a:buFont typeface="Arial" panose="020B0604020202020204" pitchFamily="34" charset="0"/>
              <a:buNone/>
              <a:defRPr/>
            </a:lvl3pPr>
            <a:lvl4pPr marL="1081424" indent="0">
              <a:buClr>
                <a:schemeClr val="tx1"/>
              </a:buClr>
              <a:buFont typeface="Arial" panose="020B0604020202020204" pitchFamily="34" charset="0"/>
              <a:buNone/>
              <a:defRPr/>
            </a:lvl4pPr>
            <a:lvl5pPr marL="1439964" indent="0">
              <a:buClr>
                <a:schemeClr val="tx1"/>
              </a:buClr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dirty="0"/>
              <a:t>Click to enter text content.</a:t>
            </a:r>
            <a:br>
              <a:rPr lang="en-GB" dirty="0"/>
            </a:br>
            <a:r>
              <a:rPr lang="en-US" dirty="0"/>
              <a:t>If text content appears too large please reduce the size of the font.</a:t>
            </a:r>
            <a:endParaRPr lang="en-GB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4E1E8257-6B8C-4088-985E-4C3DCEE9DEB1}"/>
              </a:ext>
            </a:extLst>
          </p:cNvPr>
          <p:cNvSpPr>
            <a:spLocks noGrp="1"/>
          </p:cNvSpPr>
          <p:nvPr>
            <p:ph type="dt" sz="half" idx="28"/>
          </p:nvPr>
        </p:nvSpPr>
        <p:spPr/>
        <p:txBody>
          <a:bodyPr/>
          <a:lstStyle/>
          <a:p>
            <a:fld id="{E018087B-459D-4729-B449-CCF6702E8E13}" type="datetime4">
              <a:rPr lang="en-GB" smtClean="0"/>
              <a:t>22 September 2025</a:t>
            </a:fld>
            <a:endParaRPr lang="en-GB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06002AE1-2317-4E5A-B166-4104FA8F071A}"/>
              </a:ext>
            </a:extLst>
          </p:cNvPr>
          <p:cNvSpPr>
            <a:spLocks noGrp="1"/>
          </p:cNvSpPr>
          <p:nvPr>
            <p:ph type="ftr" sz="quarter" idx="29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DFB4A4D5-34F7-4B9E-9971-87C022586B14}"/>
              </a:ext>
            </a:extLst>
          </p:cNvPr>
          <p:cNvSpPr>
            <a:spLocks noGrp="1"/>
          </p:cNvSpPr>
          <p:nvPr>
            <p:ph type="sldNum" sz="quarter" idx="30"/>
          </p:nvPr>
        </p:nvSpPr>
        <p:spPr/>
        <p:txBody>
          <a:bodyPr/>
          <a:lstStyle/>
          <a:p>
            <a:fld id="{9F9F533D-B52E-4A2F-BF72-0ADD2D94BD75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8D9C632-48DD-68F1-C98B-0AA2BE39A14E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65125" y="5792400"/>
            <a:ext cx="7555231" cy="298800"/>
          </a:xfrm>
        </p:spPr>
        <p:txBody>
          <a:bodyPr lIns="0" tIns="0" rIns="0" bIns="0" anchor="b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800"/>
            </a:lvl1pPr>
            <a:lvl2pPr marL="357542" indent="0">
              <a:spcBef>
                <a:spcPts val="0"/>
              </a:spcBef>
              <a:spcAft>
                <a:spcPts val="0"/>
              </a:spcAft>
              <a:buNone/>
              <a:defRPr/>
            </a:lvl2pPr>
            <a:lvl3pPr marL="719982" indent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1081424" indent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1439964" indent="0">
              <a:spcBef>
                <a:spcPts val="0"/>
              </a:spcBef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en-US" dirty="0"/>
              <a:t>Insert Source text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175B623F-E1ED-BC6F-EAB9-2F7C7BB5A0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5125" y="242888"/>
            <a:ext cx="11460163" cy="43088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4" name="Subtitle 2">
            <a:extLst>
              <a:ext uri="{FF2B5EF4-FFF2-40B4-BE49-F238E27FC236}">
                <a16:creationId xmlns:a16="http://schemas.microsoft.com/office/drawing/2014/main" id="{05B934E4-D94D-494D-8E16-6927D2105C4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5125" y="694950"/>
            <a:ext cx="11460164" cy="352800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2400" i="0">
                <a:solidFill>
                  <a:schemeClr val="tx1"/>
                </a:solidFill>
                <a:latin typeface="+mn-lt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/>
              <a:t>Click to enter slide subtitle</a:t>
            </a:r>
          </a:p>
        </p:txBody>
      </p:sp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34C03FD5-9F96-2D56-07D6-C43A8485D860}"/>
              </a:ext>
            </a:extLst>
          </p:cNvPr>
          <p:cNvSpPr/>
          <p:nvPr/>
        </p:nvSpPr>
        <p:spPr>
          <a:xfrm>
            <a:off x="0" y="184645"/>
            <a:ext cx="264043" cy="559397"/>
          </a:xfrm>
          <a:custGeom>
            <a:avLst/>
            <a:gdLst>
              <a:gd name="connsiteX0" fmla="*/ 0 w 857257"/>
              <a:gd name="connsiteY0" fmla="*/ 0 h 1816170"/>
              <a:gd name="connsiteX1" fmla="*/ 841477 w 857257"/>
              <a:gd name="connsiteY1" fmla="*/ 890550 h 1816170"/>
              <a:gd name="connsiteX2" fmla="*/ 841477 w 857257"/>
              <a:gd name="connsiteY2" fmla="*/ 925611 h 1816170"/>
              <a:gd name="connsiteX3" fmla="*/ 0 w 857257"/>
              <a:gd name="connsiteY3" fmla="*/ 1816170 h 1816170"/>
              <a:gd name="connsiteX4" fmla="*/ 0 w 857257"/>
              <a:gd name="connsiteY4" fmla="*/ 0 h 18161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57257" h="1816170">
                <a:moveTo>
                  <a:pt x="0" y="0"/>
                </a:moveTo>
                <a:cubicBezTo>
                  <a:pt x="0" y="462811"/>
                  <a:pt x="301523" y="743293"/>
                  <a:pt x="841477" y="890550"/>
                </a:cubicBezTo>
                <a:cubicBezTo>
                  <a:pt x="862517" y="897560"/>
                  <a:pt x="862517" y="918601"/>
                  <a:pt x="841477" y="925611"/>
                </a:cubicBezTo>
                <a:cubicBezTo>
                  <a:pt x="301523" y="1072868"/>
                  <a:pt x="0" y="1353360"/>
                  <a:pt x="0" y="181617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dirty="0"/>
          </a:p>
        </p:txBody>
      </p:sp>
      <p:sp>
        <p:nvSpPr>
          <p:cNvPr id="2" name="Freeform: Shape 1">
            <a:extLst>
              <a:ext uri="{FF2B5EF4-FFF2-40B4-BE49-F238E27FC236}">
                <a16:creationId xmlns:a16="http://schemas.microsoft.com/office/drawing/2014/main" id="{C35E16B8-17D3-543D-006C-0A00D7BCD6B2}"/>
              </a:ext>
            </a:extLst>
          </p:cNvPr>
          <p:cNvSpPr/>
          <p:nvPr userDrawn="1"/>
        </p:nvSpPr>
        <p:spPr>
          <a:xfrm>
            <a:off x="0" y="184645"/>
            <a:ext cx="264043" cy="559397"/>
          </a:xfrm>
          <a:custGeom>
            <a:avLst/>
            <a:gdLst>
              <a:gd name="connsiteX0" fmla="*/ 0 w 857257"/>
              <a:gd name="connsiteY0" fmla="*/ 0 h 1816170"/>
              <a:gd name="connsiteX1" fmla="*/ 841477 w 857257"/>
              <a:gd name="connsiteY1" fmla="*/ 890550 h 1816170"/>
              <a:gd name="connsiteX2" fmla="*/ 841477 w 857257"/>
              <a:gd name="connsiteY2" fmla="*/ 925611 h 1816170"/>
              <a:gd name="connsiteX3" fmla="*/ 0 w 857257"/>
              <a:gd name="connsiteY3" fmla="*/ 1816170 h 1816170"/>
              <a:gd name="connsiteX4" fmla="*/ 0 w 857257"/>
              <a:gd name="connsiteY4" fmla="*/ 0 h 18161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57257" h="1816170">
                <a:moveTo>
                  <a:pt x="0" y="0"/>
                </a:moveTo>
                <a:cubicBezTo>
                  <a:pt x="0" y="462811"/>
                  <a:pt x="301523" y="743293"/>
                  <a:pt x="841477" y="890550"/>
                </a:cubicBezTo>
                <a:cubicBezTo>
                  <a:pt x="862517" y="897560"/>
                  <a:pt x="862517" y="918601"/>
                  <a:pt x="841477" y="925611"/>
                </a:cubicBezTo>
                <a:cubicBezTo>
                  <a:pt x="301523" y="1072868"/>
                  <a:pt x="0" y="1353360"/>
                  <a:pt x="0" y="181617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834902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 a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710E2EBD-4DBA-A411-89A3-C363C68F935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960792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4" progId="TCLayout.ActiveDocument.1">
                  <p:embed/>
                </p:oleObj>
              </mc:Choice>
              <mc:Fallback>
                <p:oleObj name="think-cell Slide" r:id="rId4" imgW="425" imgH="42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710E2EBD-4DBA-A411-89A3-C363C68F935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365125" y="1303338"/>
            <a:ext cx="3652838" cy="4489062"/>
          </a:xfrm>
          <a:prstGeom prst="rect">
            <a:avLst/>
          </a:prstGeom>
        </p:spPr>
        <p:txBody>
          <a:bodyPr lIns="36000" tIns="36000" rIns="36000" bIns="36000">
            <a:noAutofit/>
          </a:bodyPr>
          <a:lstStyle>
            <a:lvl1pPr marL="0" indent="0">
              <a:buNone/>
              <a:defRPr sz="2200"/>
            </a:lvl1pPr>
          </a:lstStyle>
          <a:p>
            <a:pPr lvl="0"/>
            <a:r>
              <a:rPr lang="en-GB" dirty="0"/>
              <a:t>Click to enter text content.</a:t>
            </a:r>
            <a:br>
              <a:rPr lang="en-GB" dirty="0"/>
            </a:br>
            <a:r>
              <a:rPr lang="en-US" dirty="0"/>
              <a:t>If text content appears too large please reduce the size of the font.</a:t>
            </a:r>
            <a:endParaRPr lang="en-GB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2120E7F-C0E1-48FE-9205-5741B91C8E6F}"/>
              </a:ext>
            </a:extLst>
          </p:cNvPr>
          <p:cNvSpPr>
            <a:spLocks noGrp="1"/>
          </p:cNvSpPr>
          <p:nvPr>
            <p:ph type="dt" sz="half" idx="28"/>
          </p:nvPr>
        </p:nvSpPr>
        <p:spPr/>
        <p:txBody>
          <a:bodyPr/>
          <a:lstStyle/>
          <a:p>
            <a:fld id="{E9163369-E20E-4F1F-9100-6DD4DDB346C3}" type="datetime4">
              <a:rPr lang="en-GB" smtClean="0"/>
              <a:t>22 September 2025</a:t>
            </a:fld>
            <a:endParaRPr lang="en-GB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AFC227CF-7C01-4C8F-A012-E6EC9EFFB1B0}"/>
              </a:ext>
            </a:extLst>
          </p:cNvPr>
          <p:cNvSpPr>
            <a:spLocks noGrp="1"/>
          </p:cNvSpPr>
          <p:nvPr>
            <p:ph type="ftr" sz="quarter" idx="29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3D4743C-0184-4AE6-8901-D4C4FE13116A}"/>
              </a:ext>
            </a:extLst>
          </p:cNvPr>
          <p:cNvSpPr>
            <a:spLocks noGrp="1"/>
          </p:cNvSpPr>
          <p:nvPr>
            <p:ph type="sldNum" sz="quarter" idx="30"/>
          </p:nvPr>
        </p:nvSpPr>
        <p:spPr/>
        <p:txBody>
          <a:bodyPr/>
          <a:lstStyle/>
          <a:p>
            <a:fld id="{9F9F533D-B52E-4A2F-BF72-0ADD2D94BD75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8" name="Picture Placeholder 17">
            <a:extLst>
              <a:ext uri="{FF2B5EF4-FFF2-40B4-BE49-F238E27FC236}">
                <a16:creationId xmlns:a16="http://schemas.microsoft.com/office/drawing/2014/main" id="{E219C323-6E00-D14B-433A-AFFED48030D6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4270375" y="1303337"/>
            <a:ext cx="7554913" cy="4788000"/>
          </a:xfrm>
          <a:custGeom>
            <a:avLst/>
            <a:gdLst>
              <a:gd name="connsiteX0" fmla="*/ 1697038 w 7554913"/>
              <a:gd name="connsiteY0" fmla="*/ 0 h 4788000"/>
              <a:gd name="connsiteX1" fmla="*/ 7378379 w 7554913"/>
              <a:gd name="connsiteY1" fmla="*/ 0 h 4788000"/>
              <a:gd name="connsiteX2" fmla="*/ 7554913 w 7554913"/>
              <a:gd name="connsiteY2" fmla="*/ 176534 h 4788000"/>
              <a:gd name="connsiteX3" fmla="*/ 7554913 w 7554913"/>
              <a:gd name="connsiteY3" fmla="*/ 4611466 h 4788000"/>
              <a:gd name="connsiteX4" fmla="*/ 7378379 w 7554913"/>
              <a:gd name="connsiteY4" fmla="*/ 4788000 h 4788000"/>
              <a:gd name="connsiteX5" fmla="*/ 176534 w 7554913"/>
              <a:gd name="connsiteY5" fmla="*/ 4788000 h 4788000"/>
              <a:gd name="connsiteX6" fmla="*/ 0 w 7554913"/>
              <a:gd name="connsiteY6" fmla="*/ 4611466 h 4788000"/>
              <a:gd name="connsiteX7" fmla="*/ 0 w 7554913"/>
              <a:gd name="connsiteY7" fmla="*/ 1489211 h 4788000"/>
              <a:gd name="connsiteX8" fmla="*/ 26638 w 7554913"/>
              <a:gd name="connsiteY8" fmla="*/ 1402309 h 4788000"/>
              <a:gd name="connsiteX9" fmla="*/ 807326 w 7554913"/>
              <a:gd name="connsiteY9" fmla="*/ 937371 h 4788000"/>
              <a:gd name="connsiteX10" fmla="*/ 850924 w 7554913"/>
              <a:gd name="connsiteY10" fmla="*/ 893772 h 4788000"/>
              <a:gd name="connsiteX11" fmla="*/ 850924 w 7554913"/>
              <a:gd name="connsiteY11" fmla="*/ 639447 h 4788000"/>
              <a:gd name="connsiteX12" fmla="*/ 1360669 w 7554913"/>
              <a:gd name="connsiteY12" fmla="*/ 12872 h 4788000"/>
              <a:gd name="connsiteX13" fmla="*/ 1482160 w 7554913"/>
              <a:gd name="connsiteY13" fmla="*/ 815 h 4788000"/>
              <a:gd name="connsiteX14" fmla="*/ 1697038 w 7554913"/>
              <a:gd name="connsiteY14" fmla="*/ 815 h 4788000"/>
              <a:gd name="connsiteX0" fmla="*/ 1697038 w 7554913"/>
              <a:gd name="connsiteY0" fmla="*/ 0 h 4788000"/>
              <a:gd name="connsiteX1" fmla="*/ 7378379 w 7554913"/>
              <a:gd name="connsiteY1" fmla="*/ 0 h 4788000"/>
              <a:gd name="connsiteX2" fmla="*/ 7554913 w 7554913"/>
              <a:gd name="connsiteY2" fmla="*/ 176534 h 4788000"/>
              <a:gd name="connsiteX3" fmla="*/ 7554913 w 7554913"/>
              <a:gd name="connsiteY3" fmla="*/ 4611466 h 4788000"/>
              <a:gd name="connsiteX4" fmla="*/ 7378379 w 7554913"/>
              <a:gd name="connsiteY4" fmla="*/ 4788000 h 4788000"/>
              <a:gd name="connsiteX5" fmla="*/ 176534 w 7554913"/>
              <a:gd name="connsiteY5" fmla="*/ 4788000 h 4788000"/>
              <a:gd name="connsiteX6" fmla="*/ 0 w 7554913"/>
              <a:gd name="connsiteY6" fmla="*/ 4611466 h 4788000"/>
              <a:gd name="connsiteX7" fmla="*/ 0 w 7554913"/>
              <a:gd name="connsiteY7" fmla="*/ 1489211 h 4788000"/>
              <a:gd name="connsiteX8" fmla="*/ 807326 w 7554913"/>
              <a:gd name="connsiteY8" fmla="*/ 937371 h 4788000"/>
              <a:gd name="connsiteX9" fmla="*/ 850924 w 7554913"/>
              <a:gd name="connsiteY9" fmla="*/ 893772 h 4788000"/>
              <a:gd name="connsiteX10" fmla="*/ 850924 w 7554913"/>
              <a:gd name="connsiteY10" fmla="*/ 639447 h 4788000"/>
              <a:gd name="connsiteX11" fmla="*/ 1360669 w 7554913"/>
              <a:gd name="connsiteY11" fmla="*/ 12872 h 4788000"/>
              <a:gd name="connsiteX12" fmla="*/ 1482160 w 7554913"/>
              <a:gd name="connsiteY12" fmla="*/ 815 h 4788000"/>
              <a:gd name="connsiteX13" fmla="*/ 1697038 w 7554913"/>
              <a:gd name="connsiteY13" fmla="*/ 815 h 4788000"/>
              <a:gd name="connsiteX14" fmla="*/ 1697038 w 7554913"/>
              <a:gd name="connsiteY14" fmla="*/ 0 h 4788000"/>
              <a:gd name="connsiteX0" fmla="*/ 1697038 w 7554913"/>
              <a:gd name="connsiteY0" fmla="*/ 0 h 4788000"/>
              <a:gd name="connsiteX1" fmla="*/ 7378379 w 7554913"/>
              <a:gd name="connsiteY1" fmla="*/ 0 h 4788000"/>
              <a:gd name="connsiteX2" fmla="*/ 7554913 w 7554913"/>
              <a:gd name="connsiteY2" fmla="*/ 176534 h 4788000"/>
              <a:gd name="connsiteX3" fmla="*/ 7554913 w 7554913"/>
              <a:gd name="connsiteY3" fmla="*/ 4611466 h 4788000"/>
              <a:gd name="connsiteX4" fmla="*/ 7378379 w 7554913"/>
              <a:gd name="connsiteY4" fmla="*/ 4788000 h 4788000"/>
              <a:gd name="connsiteX5" fmla="*/ 176534 w 7554913"/>
              <a:gd name="connsiteY5" fmla="*/ 4788000 h 4788000"/>
              <a:gd name="connsiteX6" fmla="*/ 0 w 7554913"/>
              <a:gd name="connsiteY6" fmla="*/ 4611466 h 4788000"/>
              <a:gd name="connsiteX7" fmla="*/ 0 w 7554913"/>
              <a:gd name="connsiteY7" fmla="*/ 1489211 h 4788000"/>
              <a:gd name="connsiteX8" fmla="*/ 807326 w 7554913"/>
              <a:gd name="connsiteY8" fmla="*/ 937371 h 4788000"/>
              <a:gd name="connsiteX9" fmla="*/ 850924 w 7554913"/>
              <a:gd name="connsiteY9" fmla="*/ 893772 h 4788000"/>
              <a:gd name="connsiteX10" fmla="*/ 850924 w 7554913"/>
              <a:gd name="connsiteY10" fmla="*/ 639447 h 4788000"/>
              <a:gd name="connsiteX11" fmla="*/ 1360669 w 7554913"/>
              <a:gd name="connsiteY11" fmla="*/ 12872 h 4788000"/>
              <a:gd name="connsiteX12" fmla="*/ 1482160 w 7554913"/>
              <a:gd name="connsiteY12" fmla="*/ 815 h 4788000"/>
              <a:gd name="connsiteX13" fmla="*/ 1697038 w 7554913"/>
              <a:gd name="connsiteY13" fmla="*/ 815 h 4788000"/>
              <a:gd name="connsiteX14" fmla="*/ 1697038 w 7554913"/>
              <a:gd name="connsiteY14" fmla="*/ 0 h 4788000"/>
              <a:gd name="connsiteX0" fmla="*/ 1697038 w 7554913"/>
              <a:gd name="connsiteY0" fmla="*/ 0 h 4788000"/>
              <a:gd name="connsiteX1" fmla="*/ 7378379 w 7554913"/>
              <a:gd name="connsiteY1" fmla="*/ 0 h 4788000"/>
              <a:gd name="connsiteX2" fmla="*/ 7554913 w 7554913"/>
              <a:gd name="connsiteY2" fmla="*/ 176534 h 4788000"/>
              <a:gd name="connsiteX3" fmla="*/ 7554913 w 7554913"/>
              <a:gd name="connsiteY3" fmla="*/ 4611466 h 4788000"/>
              <a:gd name="connsiteX4" fmla="*/ 7378379 w 7554913"/>
              <a:gd name="connsiteY4" fmla="*/ 4788000 h 4788000"/>
              <a:gd name="connsiteX5" fmla="*/ 176534 w 7554913"/>
              <a:gd name="connsiteY5" fmla="*/ 4788000 h 4788000"/>
              <a:gd name="connsiteX6" fmla="*/ 0 w 7554913"/>
              <a:gd name="connsiteY6" fmla="*/ 4611466 h 4788000"/>
              <a:gd name="connsiteX7" fmla="*/ 0 w 7554913"/>
              <a:gd name="connsiteY7" fmla="*/ 1489211 h 4788000"/>
              <a:gd name="connsiteX8" fmla="*/ 807326 w 7554913"/>
              <a:gd name="connsiteY8" fmla="*/ 937371 h 4788000"/>
              <a:gd name="connsiteX9" fmla="*/ 850924 w 7554913"/>
              <a:gd name="connsiteY9" fmla="*/ 893772 h 4788000"/>
              <a:gd name="connsiteX10" fmla="*/ 850924 w 7554913"/>
              <a:gd name="connsiteY10" fmla="*/ 639447 h 4788000"/>
              <a:gd name="connsiteX11" fmla="*/ 1360669 w 7554913"/>
              <a:gd name="connsiteY11" fmla="*/ 12872 h 4788000"/>
              <a:gd name="connsiteX12" fmla="*/ 1482160 w 7554913"/>
              <a:gd name="connsiteY12" fmla="*/ 815 h 4788000"/>
              <a:gd name="connsiteX13" fmla="*/ 1697038 w 7554913"/>
              <a:gd name="connsiteY13" fmla="*/ 815 h 4788000"/>
              <a:gd name="connsiteX14" fmla="*/ 1697038 w 7554913"/>
              <a:gd name="connsiteY14" fmla="*/ 0 h 4788000"/>
              <a:gd name="connsiteX0" fmla="*/ 1697038 w 7554913"/>
              <a:gd name="connsiteY0" fmla="*/ 0 h 4788000"/>
              <a:gd name="connsiteX1" fmla="*/ 7378379 w 7554913"/>
              <a:gd name="connsiteY1" fmla="*/ 0 h 4788000"/>
              <a:gd name="connsiteX2" fmla="*/ 7554913 w 7554913"/>
              <a:gd name="connsiteY2" fmla="*/ 176534 h 4788000"/>
              <a:gd name="connsiteX3" fmla="*/ 7554913 w 7554913"/>
              <a:gd name="connsiteY3" fmla="*/ 4611466 h 4788000"/>
              <a:gd name="connsiteX4" fmla="*/ 7378379 w 7554913"/>
              <a:gd name="connsiteY4" fmla="*/ 4788000 h 4788000"/>
              <a:gd name="connsiteX5" fmla="*/ 176534 w 7554913"/>
              <a:gd name="connsiteY5" fmla="*/ 4788000 h 4788000"/>
              <a:gd name="connsiteX6" fmla="*/ 0 w 7554913"/>
              <a:gd name="connsiteY6" fmla="*/ 4611466 h 4788000"/>
              <a:gd name="connsiteX7" fmla="*/ 0 w 7554913"/>
              <a:gd name="connsiteY7" fmla="*/ 1489211 h 4788000"/>
              <a:gd name="connsiteX8" fmla="*/ 807326 w 7554913"/>
              <a:gd name="connsiteY8" fmla="*/ 937371 h 4788000"/>
              <a:gd name="connsiteX9" fmla="*/ 850924 w 7554913"/>
              <a:gd name="connsiteY9" fmla="*/ 893772 h 4788000"/>
              <a:gd name="connsiteX10" fmla="*/ 850924 w 7554913"/>
              <a:gd name="connsiteY10" fmla="*/ 639447 h 4788000"/>
              <a:gd name="connsiteX11" fmla="*/ 1360669 w 7554913"/>
              <a:gd name="connsiteY11" fmla="*/ 12872 h 4788000"/>
              <a:gd name="connsiteX12" fmla="*/ 1482160 w 7554913"/>
              <a:gd name="connsiteY12" fmla="*/ 815 h 4788000"/>
              <a:gd name="connsiteX13" fmla="*/ 1697038 w 7554913"/>
              <a:gd name="connsiteY13" fmla="*/ 815 h 4788000"/>
              <a:gd name="connsiteX14" fmla="*/ 1697038 w 7554913"/>
              <a:gd name="connsiteY14" fmla="*/ 0 h 4788000"/>
              <a:gd name="connsiteX0" fmla="*/ 1697038 w 7554913"/>
              <a:gd name="connsiteY0" fmla="*/ 0 h 4788000"/>
              <a:gd name="connsiteX1" fmla="*/ 7378379 w 7554913"/>
              <a:gd name="connsiteY1" fmla="*/ 0 h 4788000"/>
              <a:gd name="connsiteX2" fmla="*/ 7554913 w 7554913"/>
              <a:gd name="connsiteY2" fmla="*/ 176534 h 4788000"/>
              <a:gd name="connsiteX3" fmla="*/ 7554913 w 7554913"/>
              <a:gd name="connsiteY3" fmla="*/ 4611466 h 4788000"/>
              <a:gd name="connsiteX4" fmla="*/ 7378379 w 7554913"/>
              <a:gd name="connsiteY4" fmla="*/ 4788000 h 4788000"/>
              <a:gd name="connsiteX5" fmla="*/ 176534 w 7554913"/>
              <a:gd name="connsiteY5" fmla="*/ 4788000 h 4788000"/>
              <a:gd name="connsiteX6" fmla="*/ 0 w 7554913"/>
              <a:gd name="connsiteY6" fmla="*/ 4611466 h 4788000"/>
              <a:gd name="connsiteX7" fmla="*/ 0 w 7554913"/>
              <a:gd name="connsiteY7" fmla="*/ 1489211 h 4788000"/>
              <a:gd name="connsiteX8" fmla="*/ 807326 w 7554913"/>
              <a:gd name="connsiteY8" fmla="*/ 937371 h 4788000"/>
              <a:gd name="connsiteX9" fmla="*/ 850924 w 7554913"/>
              <a:gd name="connsiteY9" fmla="*/ 893772 h 4788000"/>
              <a:gd name="connsiteX10" fmla="*/ 850924 w 7554913"/>
              <a:gd name="connsiteY10" fmla="*/ 639447 h 4788000"/>
              <a:gd name="connsiteX11" fmla="*/ 1360669 w 7554913"/>
              <a:gd name="connsiteY11" fmla="*/ 12872 h 4788000"/>
              <a:gd name="connsiteX12" fmla="*/ 1482160 w 7554913"/>
              <a:gd name="connsiteY12" fmla="*/ 815 h 4788000"/>
              <a:gd name="connsiteX13" fmla="*/ 1697038 w 7554913"/>
              <a:gd name="connsiteY13" fmla="*/ 815 h 4788000"/>
              <a:gd name="connsiteX14" fmla="*/ 1697038 w 7554913"/>
              <a:gd name="connsiteY14" fmla="*/ 0 h 4788000"/>
              <a:gd name="connsiteX0" fmla="*/ 1697038 w 7554913"/>
              <a:gd name="connsiteY0" fmla="*/ 0 h 4788000"/>
              <a:gd name="connsiteX1" fmla="*/ 7378379 w 7554913"/>
              <a:gd name="connsiteY1" fmla="*/ 0 h 4788000"/>
              <a:gd name="connsiteX2" fmla="*/ 7554913 w 7554913"/>
              <a:gd name="connsiteY2" fmla="*/ 176534 h 4788000"/>
              <a:gd name="connsiteX3" fmla="*/ 7554913 w 7554913"/>
              <a:gd name="connsiteY3" fmla="*/ 4611466 h 4788000"/>
              <a:gd name="connsiteX4" fmla="*/ 7378379 w 7554913"/>
              <a:gd name="connsiteY4" fmla="*/ 4788000 h 4788000"/>
              <a:gd name="connsiteX5" fmla="*/ 176534 w 7554913"/>
              <a:gd name="connsiteY5" fmla="*/ 4788000 h 4788000"/>
              <a:gd name="connsiteX6" fmla="*/ 0 w 7554913"/>
              <a:gd name="connsiteY6" fmla="*/ 4611466 h 4788000"/>
              <a:gd name="connsiteX7" fmla="*/ 0 w 7554913"/>
              <a:gd name="connsiteY7" fmla="*/ 1489211 h 4788000"/>
              <a:gd name="connsiteX8" fmla="*/ 807326 w 7554913"/>
              <a:gd name="connsiteY8" fmla="*/ 937371 h 4788000"/>
              <a:gd name="connsiteX9" fmla="*/ 850924 w 7554913"/>
              <a:gd name="connsiteY9" fmla="*/ 893772 h 4788000"/>
              <a:gd name="connsiteX10" fmla="*/ 850924 w 7554913"/>
              <a:gd name="connsiteY10" fmla="*/ 639447 h 4788000"/>
              <a:gd name="connsiteX11" fmla="*/ 1360669 w 7554913"/>
              <a:gd name="connsiteY11" fmla="*/ 12872 h 4788000"/>
              <a:gd name="connsiteX12" fmla="*/ 1482160 w 7554913"/>
              <a:gd name="connsiteY12" fmla="*/ 815 h 4788000"/>
              <a:gd name="connsiteX13" fmla="*/ 1697038 w 7554913"/>
              <a:gd name="connsiteY13" fmla="*/ 815 h 4788000"/>
              <a:gd name="connsiteX14" fmla="*/ 1697038 w 7554913"/>
              <a:gd name="connsiteY14" fmla="*/ 0 h 4788000"/>
              <a:gd name="connsiteX0" fmla="*/ 1697038 w 7554913"/>
              <a:gd name="connsiteY0" fmla="*/ 0 h 4788000"/>
              <a:gd name="connsiteX1" fmla="*/ 7378379 w 7554913"/>
              <a:gd name="connsiteY1" fmla="*/ 0 h 4788000"/>
              <a:gd name="connsiteX2" fmla="*/ 7554913 w 7554913"/>
              <a:gd name="connsiteY2" fmla="*/ 176534 h 4788000"/>
              <a:gd name="connsiteX3" fmla="*/ 7554913 w 7554913"/>
              <a:gd name="connsiteY3" fmla="*/ 4611466 h 4788000"/>
              <a:gd name="connsiteX4" fmla="*/ 7378379 w 7554913"/>
              <a:gd name="connsiteY4" fmla="*/ 4788000 h 4788000"/>
              <a:gd name="connsiteX5" fmla="*/ 176534 w 7554913"/>
              <a:gd name="connsiteY5" fmla="*/ 4788000 h 4788000"/>
              <a:gd name="connsiteX6" fmla="*/ 0 w 7554913"/>
              <a:gd name="connsiteY6" fmla="*/ 4611466 h 4788000"/>
              <a:gd name="connsiteX7" fmla="*/ 0 w 7554913"/>
              <a:gd name="connsiteY7" fmla="*/ 1489211 h 4788000"/>
              <a:gd name="connsiteX8" fmla="*/ 807326 w 7554913"/>
              <a:gd name="connsiteY8" fmla="*/ 937371 h 4788000"/>
              <a:gd name="connsiteX9" fmla="*/ 850924 w 7554913"/>
              <a:gd name="connsiteY9" fmla="*/ 893772 h 4788000"/>
              <a:gd name="connsiteX10" fmla="*/ 850924 w 7554913"/>
              <a:gd name="connsiteY10" fmla="*/ 639447 h 4788000"/>
              <a:gd name="connsiteX11" fmla="*/ 1360669 w 7554913"/>
              <a:gd name="connsiteY11" fmla="*/ 12872 h 4788000"/>
              <a:gd name="connsiteX12" fmla="*/ 1482160 w 7554913"/>
              <a:gd name="connsiteY12" fmla="*/ 815 h 4788000"/>
              <a:gd name="connsiteX13" fmla="*/ 1697038 w 7554913"/>
              <a:gd name="connsiteY13" fmla="*/ 815 h 4788000"/>
              <a:gd name="connsiteX14" fmla="*/ 1697038 w 7554913"/>
              <a:gd name="connsiteY14" fmla="*/ 0 h 4788000"/>
              <a:gd name="connsiteX0" fmla="*/ 1697038 w 7554913"/>
              <a:gd name="connsiteY0" fmla="*/ 0 h 4788000"/>
              <a:gd name="connsiteX1" fmla="*/ 7378379 w 7554913"/>
              <a:gd name="connsiteY1" fmla="*/ 0 h 4788000"/>
              <a:gd name="connsiteX2" fmla="*/ 7554913 w 7554913"/>
              <a:gd name="connsiteY2" fmla="*/ 176534 h 4788000"/>
              <a:gd name="connsiteX3" fmla="*/ 7554913 w 7554913"/>
              <a:gd name="connsiteY3" fmla="*/ 4611466 h 4788000"/>
              <a:gd name="connsiteX4" fmla="*/ 7378379 w 7554913"/>
              <a:gd name="connsiteY4" fmla="*/ 4788000 h 4788000"/>
              <a:gd name="connsiteX5" fmla="*/ 176534 w 7554913"/>
              <a:gd name="connsiteY5" fmla="*/ 4788000 h 4788000"/>
              <a:gd name="connsiteX6" fmla="*/ 0 w 7554913"/>
              <a:gd name="connsiteY6" fmla="*/ 4611466 h 4788000"/>
              <a:gd name="connsiteX7" fmla="*/ 0 w 7554913"/>
              <a:gd name="connsiteY7" fmla="*/ 1489211 h 4788000"/>
              <a:gd name="connsiteX8" fmla="*/ 807326 w 7554913"/>
              <a:gd name="connsiteY8" fmla="*/ 937371 h 4788000"/>
              <a:gd name="connsiteX9" fmla="*/ 850924 w 7554913"/>
              <a:gd name="connsiteY9" fmla="*/ 893772 h 4788000"/>
              <a:gd name="connsiteX10" fmla="*/ 850924 w 7554913"/>
              <a:gd name="connsiteY10" fmla="*/ 639447 h 4788000"/>
              <a:gd name="connsiteX11" fmla="*/ 1360669 w 7554913"/>
              <a:gd name="connsiteY11" fmla="*/ 12872 h 4788000"/>
              <a:gd name="connsiteX12" fmla="*/ 1482160 w 7554913"/>
              <a:gd name="connsiteY12" fmla="*/ 815 h 4788000"/>
              <a:gd name="connsiteX13" fmla="*/ 1697038 w 7554913"/>
              <a:gd name="connsiteY13" fmla="*/ 815 h 4788000"/>
              <a:gd name="connsiteX14" fmla="*/ 1697038 w 7554913"/>
              <a:gd name="connsiteY14" fmla="*/ 0 h 4788000"/>
              <a:gd name="connsiteX0" fmla="*/ 1697038 w 7554913"/>
              <a:gd name="connsiteY0" fmla="*/ 0 h 4788000"/>
              <a:gd name="connsiteX1" fmla="*/ 7378379 w 7554913"/>
              <a:gd name="connsiteY1" fmla="*/ 0 h 4788000"/>
              <a:gd name="connsiteX2" fmla="*/ 7554913 w 7554913"/>
              <a:gd name="connsiteY2" fmla="*/ 176534 h 4788000"/>
              <a:gd name="connsiteX3" fmla="*/ 7554913 w 7554913"/>
              <a:gd name="connsiteY3" fmla="*/ 4611466 h 4788000"/>
              <a:gd name="connsiteX4" fmla="*/ 7378379 w 7554913"/>
              <a:gd name="connsiteY4" fmla="*/ 4788000 h 4788000"/>
              <a:gd name="connsiteX5" fmla="*/ 176534 w 7554913"/>
              <a:gd name="connsiteY5" fmla="*/ 4788000 h 4788000"/>
              <a:gd name="connsiteX6" fmla="*/ 0 w 7554913"/>
              <a:gd name="connsiteY6" fmla="*/ 4611466 h 4788000"/>
              <a:gd name="connsiteX7" fmla="*/ 0 w 7554913"/>
              <a:gd name="connsiteY7" fmla="*/ 1489211 h 4788000"/>
              <a:gd name="connsiteX8" fmla="*/ 807326 w 7554913"/>
              <a:gd name="connsiteY8" fmla="*/ 937371 h 4788000"/>
              <a:gd name="connsiteX9" fmla="*/ 850924 w 7554913"/>
              <a:gd name="connsiteY9" fmla="*/ 893772 h 4788000"/>
              <a:gd name="connsiteX10" fmla="*/ 850924 w 7554913"/>
              <a:gd name="connsiteY10" fmla="*/ 639447 h 4788000"/>
              <a:gd name="connsiteX11" fmla="*/ 1360669 w 7554913"/>
              <a:gd name="connsiteY11" fmla="*/ 12872 h 4788000"/>
              <a:gd name="connsiteX12" fmla="*/ 1482160 w 7554913"/>
              <a:gd name="connsiteY12" fmla="*/ 815 h 4788000"/>
              <a:gd name="connsiteX13" fmla="*/ 1697038 w 7554913"/>
              <a:gd name="connsiteY13" fmla="*/ 815 h 4788000"/>
              <a:gd name="connsiteX14" fmla="*/ 1697038 w 7554913"/>
              <a:gd name="connsiteY14" fmla="*/ 0 h 4788000"/>
              <a:gd name="connsiteX0" fmla="*/ 1697038 w 7554913"/>
              <a:gd name="connsiteY0" fmla="*/ 0 h 4788000"/>
              <a:gd name="connsiteX1" fmla="*/ 7378379 w 7554913"/>
              <a:gd name="connsiteY1" fmla="*/ 0 h 4788000"/>
              <a:gd name="connsiteX2" fmla="*/ 7554913 w 7554913"/>
              <a:gd name="connsiteY2" fmla="*/ 176534 h 4788000"/>
              <a:gd name="connsiteX3" fmla="*/ 7554913 w 7554913"/>
              <a:gd name="connsiteY3" fmla="*/ 4611466 h 4788000"/>
              <a:gd name="connsiteX4" fmla="*/ 7378379 w 7554913"/>
              <a:gd name="connsiteY4" fmla="*/ 4788000 h 4788000"/>
              <a:gd name="connsiteX5" fmla="*/ 176534 w 7554913"/>
              <a:gd name="connsiteY5" fmla="*/ 4788000 h 4788000"/>
              <a:gd name="connsiteX6" fmla="*/ 0 w 7554913"/>
              <a:gd name="connsiteY6" fmla="*/ 4611466 h 4788000"/>
              <a:gd name="connsiteX7" fmla="*/ 0 w 7554913"/>
              <a:gd name="connsiteY7" fmla="*/ 1489211 h 4788000"/>
              <a:gd name="connsiteX8" fmla="*/ 807326 w 7554913"/>
              <a:gd name="connsiteY8" fmla="*/ 937371 h 4788000"/>
              <a:gd name="connsiteX9" fmla="*/ 850924 w 7554913"/>
              <a:gd name="connsiteY9" fmla="*/ 893772 h 4788000"/>
              <a:gd name="connsiteX10" fmla="*/ 850924 w 7554913"/>
              <a:gd name="connsiteY10" fmla="*/ 639447 h 4788000"/>
              <a:gd name="connsiteX11" fmla="*/ 1360669 w 7554913"/>
              <a:gd name="connsiteY11" fmla="*/ 12872 h 4788000"/>
              <a:gd name="connsiteX12" fmla="*/ 1482160 w 7554913"/>
              <a:gd name="connsiteY12" fmla="*/ 815 h 4788000"/>
              <a:gd name="connsiteX13" fmla="*/ 1697038 w 7554913"/>
              <a:gd name="connsiteY13" fmla="*/ 815 h 4788000"/>
              <a:gd name="connsiteX14" fmla="*/ 1697038 w 7554913"/>
              <a:gd name="connsiteY14" fmla="*/ 0 h 4788000"/>
              <a:gd name="connsiteX0" fmla="*/ 1697038 w 7554913"/>
              <a:gd name="connsiteY0" fmla="*/ 0 h 4788000"/>
              <a:gd name="connsiteX1" fmla="*/ 7378379 w 7554913"/>
              <a:gd name="connsiteY1" fmla="*/ 0 h 4788000"/>
              <a:gd name="connsiteX2" fmla="*/ 7554913 w 7554913"/>
              <a:gd name="connsiteY2" fmla="*/ 176534 h 4788000"/>
              <a:gd name="connsiteX3" fmla="*/ 7554913 w 7554913"/>
              <a:gd name="connsiteY3" fmla="*/ 4611466 h 4788000"/>
              <a:gd name="connsiteX4" fmla="*/ 7378379 w 7554913"/>
              <a:gd name="connsiteY4" fmla="*/ 4788000 h 4788000"/>
              <a:gd name="connsiteX5" fmla="*/ 176534 w 7554913"/>
              <a:gd name="connsiteY5" fmla="*/ 4788000 h 4788000"/>
              <a:gd name="connsiteX6" fmla="*/ 0 w 7554913"/>
              <a:gd name="connsiteY6" fmla="*/ 4611466 h 4788000"/>
              <a:gd name="connsiteX7" fmla="*/ 0 w 7554913"/>
              <a:gd name="connsiteY7" fmla="*/ 1552711 h 4788000"/>
              <a:gd name="connsiteX8" fmla="*/ 807326 w 7554913"/>
              <a:gd name="connsiteY8" fmla="*/ 937371 h 4788000"/>
              <a:gd name="connsiteX9" fmla="*/ 850924 w 7554913"/>
              <a:gd name="connsiteY9" fmla="*/ 893772 h 4788000"/>
              <a:gd name="connsiteX10" fmla="*/ 850924 w 7554913"/>
              <a:gd name="connsiteY10" fmla="*/ 639447 h 4788000"/>
              <a:gd name="connsiteX11" fmla="*/ 1360669 w 7554913"/>
              <a:gd name="connsiteY11" fmla="*/ 12872 h 4788000"/>
              <a:gd name="connsiteX12" fmla="*/ 1482160 w 7554913"/>
              <a:gd name="connsiteY12" fmla="*/ 815 h 4788000"/>
              <a:gd name="connsiteX13" fmla="*/ 1697038 w 7554913"/>
              <a:gd name="connsiteY13" fmla="*/ 815 h 4788000"/>
              <a:gd name="connsiteX14" fmla="*/ 1697038 w 7554913"/>
              <a:gd name="connsiteY14" fmla="*/ 0 h 4788000"/>
              <a:gd name="connsiteX0" fmla="*/ 1697038 w 7554913"/>
              <a:gd name="connsiteY0" fmla="*/ 0 h 4788000"/>
              <a:gd name="connsiteX1" fmla="*/ 7378379 w 7554913"/>
              <a:gd name="connsiteY1" fmla="*/ 0 h 4788000"/>
              <a:gd name="connsiteX2" fmla="*/ 7554913 w 7554913"/>
              <a:gd name="connsiteY2" fmla="*/ 176534 h 4788000"/>
              <a:gd name="connsiteX3" fmla="*/ 7554913 w 7554913"/>
              <a:gd name="connsiteY3" fmla="*/ 4611466 h 4788000"/>
              <a:gd name="connsiteX4" fmla="*/ 7378379 w 7554913"/>
              <a:gd name="connsiteY4" fmla="*/ 4788000 h 4788000"/>
              <a:gd name="connsiteX5" fmla="*/ 176534 w 7554913"/>
              <a:gd name="connsiteY5" fmla="*/ 4788000 h 4788000"/>
              <a:gd name="connsiteX6" fmla="*/ 0 w 7554913"/>
              <a:gd name="connsiteY6" fmla="*/ 4611466 h 4788000"/>
              <a:gd name="connsiteX7" fmla="*/ 0 w 7554913"/>
              <a:gd name="connsiteY7" fmla="*/ 1552711 h 4788000"/>
              <a:gd name="connsiteX8" fmla="*/ 807326 w 7554913"/>
              <a:gd name="connsiteY8" fmla="*/ 937371 h 4788000"/>
              <a:gd name="connsiteX9" fmla="*/ 850924 w 7554913"/>
              <a:gd name="connsiteY9" fmla="*/ 893772 h 4788000"/>
              <a:gd name="connsiteX10" fmla="*/ 850924 w 7554913"/>
              <a:gd name="connsiteY10" fmla="*/ 639447 h 4788000"/>
              <a:gd name="connsiteX11" fmla="*/ 1360669 w 7554913"/>
              <a:gd name="connsiteY11" fmla="*/ 12872 h 4788000"/>
              <a:gd name="connsiteX12" fmla="*/ 1482160 w 7554913"/>
              <a:gd name="connsiteY12" fmla="*/ 815 h 4788000"/>
              <a:gd name="connsiteX13" fmla="*/ 1697038 w 7554913"/>
              <a:gd name="connsiteY13" fmla="*/ 815 h 4788000"/>
              <a:gd name="connsiteX14" fmla="*/ 1697038 w 7554913"/>
              <a:gd name="connsiteY14" fmla="*/ 0 h 4788000"/>
              <a:gd name="connsiteX0" fmla="*/ 1697038 w 7554913"/>
              <a:gd name="connsiteY0" fmla="*/ 0 h 4788000"/>
              <a:gd name="connsiteX1" fmla="*/ 7378379 w 7554913"/>
              <a:gd name="connsiteY1" fmla="*/ 0 h 4788000"/>
              <a:gd name="connsiteX2" fmla="*/ 7554913 w 7554913"/>
              <a:gd name="connsiteY2" fmla="*/ 176534 h 4788000"/>
              <a:gd name="connsiteX3" fmla="*/ 7554913 w 7554913"/>
              <a:gd name="connsiteY3" fmla="*/ 4611466 h 4788000"/>
              <a:gd name="connsiteX4" fmla="*/ 7378379 w 7554913"/>
              <a:gd name="connsiteY4" fmla="*/ 4788000 h 4788000"/>
              <a:gd name="connsiteX5" fmla="*/ 176534 w 7554913"/>
              <a:gd name="connsiteY5" fmla="*/ 4788000 h 4788000"/>
              <a:gd name="connsiteX6" fmla="*/ 0 w 7554913"/>
              <a:gd name="connsiteY6" fmla="*/ 4611466 h 4788000"/>
              <a:gd name="connsiteX7" fmla="*/ 0 w 7554913"/>
              <a:gd name="connsiteY7" fmla="*/ 1552711 h 4788000"/>
              <a:gd name="connsiteX8" fmla="*/ 807326 w 7554913"/>
              <a:gd name="connsiteY8" fmla="*/ 937371 h 4788000"/>
              <a:gd name="connsiteX9" fmla="*/ 850924 w 7554913"/>
              <a:gd name="connsiteY9" fmla="*/ 893772 h 4788000"/>
              <a:gd name="connsiteX10" fmla="*/ 850924 w 7554913"/>
              <a:gd name="connsiteY10" fmla="*/ 639447 h 4788000"/>
              <a:gd name="connsiteX11" fmla="*/ 1360669 w 7554913"/>
              <a:gd name="connsiteY11" fmla="*/ 12872 h 4788000"/>
              <a:gd name="connsiteX12" fmla="*/ 1482160 w 7554913"/>
              <a:gd name="connsiteY12" fmla="*/ 815 h 4788000"/>
              <a:gd name="connsiteX13" fmla="*/ 1697038 w 7554913"/>
              <a:gd name="connsiteY13" fmla="*/ 815 h 4788000"/>
              <a:gd name="connsiteX14" fmla="*/ 1697038 w 7554913"/>
              <a:gd name="connsiteY14" fmla="*/ 0 h 478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7554913" h="4788000">
                <a:moveTo>
                  <a:pt x="1697038" y="0"/>
                </a:moveTo>
                <a:lnTo>
                  <a:pt x="7378379" y="0"/>
                </a:lnTo>
                <a:cubicBezTo>
                  <a:pt x="7475876" y="0"/>
                  <a:pt x="7554913" y="79037"/>
                  <a:pt x="7554913" y="176534"/>
                </a:cubicBezTo>
                <a:lnTo>
                  <a:pt x="7554913" y="4611466"/>
                </a:lnTo>
                <a:cubicBezTo>
                  <a:pt x="7554913" y="4708963"/>
                  <a:pt x="7475876" y="4788000"/>
                  <a:pt x="7378379" y="4788000"/>
                </a:cubicBezTo>
                <a:lnTo>
                  <a:pt x="176534" y="4788000"/>
                </a:lnTo>
                <a:cubicBezTo>
                  <a:pt x="79037" y="4788000"/>
                  <a:pt x="0" y="4708963"/>
                  <a:pt x="0" y="4611466"/>
                </a:cubicBezTo>
                <a:lnTo>
                  <a:pt x="0" y="1552711"/>
                </a:lnTo>
                <a:cubicBezTo>
                  <a:pt x="8759" y="1063964"/>
                  <a:pt x="590287" y="923198"/>
                  <a:pt x="807326" y="937371"/>
                </a:cubicBezTo>
                <a:cubicBezTo>
                  <a:pt x="836392" y="937371"/>
                  <a:pt x="850924" y="915573"/>
                  <a:pt x="850924" y="893772"/>
                </a:cubicBezTo>
                <a:lnTo>
                  <a:pt x="850924" y="639447"/>
                </a:lnTo>
                <a:cubicBezTo>
                  <a:pt x="850924" y="327898"/>
                  <a:pt x="1067897" y="71983"/>
                  <a:pt x="1360669" y="12872"/>
                </a:cubicBezTo>
                <a:lnTo>
                  <a:pt x="1482160" y="815"/>
                </a:lnTo>
                <a:lnTo>
                  <a:pt x="1697038" y="815"/>
                </a:lnTo>
                <a:lnTo>
                  <a:pt x="1697038" y="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lIns="72000" tIns="216000" rIns="72000" bIns="72000" anchor="ctr">
            <a:noAutofit/>
          </a:bodyPr>
          <a:lstStyle>
            <a:lvl1pPr marL="0" indent="0" algn="ctr">
              <a:buNone/>
              <a:defRPr sz="2200" i="0" baseline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[Click here to insert image]</a:t>
            </a:r>
            <a:br>
              <a:rPr lang="en-GB" dirty="0"/>
            </a:br>
            <a:br>
              <a:rPr lang="en-GB" dirty="0"/>
            </a:br>
            <a:br>
              <a:rPr lang="en-GB" dirty="0"/>
            </a:br>
            <a:br>
              <a:rPr lang="en-GB" dirty="0"/>
            </a:br>
            <a:br>
              <a:rPr lang="en-GB" dirty="0"/>
            </a:br>
            <a:br>
              <a:rPr lang="en-GB" dirty="0"/>
            </a:br>
            <a:r>
              <a:rPr lang="en-GB" dirty="0"/>
              <a:t>[</a:t>
            </a:r>
            <a:r>
              <a:rPr lang="en-US" dirty="0"/>
              <a:t>The image can then be scaled within the frame by using the ‘Crop’ feature in the ‘Picture Format’ tab of the ribbon. Right click on image to add/edit alt text</a:t>
            </a:r>
            <a:r>
              <a:rPr lang="en-GB" dirty="0"/>
              <a:t>]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57407D7-26D4-4453-5DC7-A7011EC7E218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65126" y="5792400"/>
            <a:ext cx="3653156" cy="298800"/>
          </a:xfrm>
        </p:spPr>
        <p:txBody>
          <a:bodyPr lIns="0" tIns="0" rIns="0" bIns="0" anchor="b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800"/>
            </a:lvl1pPr>
            <a:lvl2pPr marL="357542" indent="0">
              <a:buNone/>
              <a:defRPr/>
            </a:lvl2pPr>
            <a:lvl3pPr marL="719982" indent="0">
              <a:buNone/>
              <a:defRPr/>
            </a:lvl3pPr>
            <a:lvl4pPr marL="1081424" indent="0">
              <a:buNone/>
              <a:defRPr/>
            </a:lvl4pPr>
            <a:lvl5pPr marL="1439964" indent="0">
              <a:buNone/>
              <a:defRPr/>
            </a:lvl5pPr>
          </a:lstStyle>
          <a:p>
            <a:pPr lvl="0"/>
            <a:r>
              <a:rPr lang="en-US" dirty="0"/>
              <a:t>Insert Source text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2B84926-EEA3-D13A-C1FB-3FEC18A73AF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5125" y="242888"/>
            <a:ext cx="11460163" cy="430887"/>
          </a:xfrm>
        </p:spPr>
        <p:txBody>
          <a:bodyPr vert="horz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E1464933-1F00-DED1-00C8-C81A38AE38F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5125" y="694950"/>
            <a:ext cx="11460164" cy="352800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2400" i="0">
                <a:solidFill>
                  <a:schemeClr val="tx1"/>
                </a:solidFill>
                <a:latin typeface="+mn-lt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/>
              <a:t>Click to enter slide subtitle</a:t>
            </a:r>
          </a:p>
        </p:txBody>
      </p:sp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62DCCF40-1773-437E-7AB4-DDD201CB4D42}"/>
              </a:ext>
            </a:extLst>
          </p:cNvPr>
          <p:cNvSpPr/>
          <p:nvPr/>
        </p:nvSpPr>
        <p:spPr>
          <a:xfrm>
            <a:off x="0" y="184645"/>
            <a:ext cx="264043" cy="559397"/>
          </a:xfrm>
          <a:custGeom>
            <a:avLst/>
            <a:gdLst>
              <a:gd name="connsiteX0" fmla="*/ 0 w 857257"/>
              <a:gd name="connsiteY0" fmla="*/ 0 h 1816170"/>
              <a:gd name="connsiteX1" fmla="*/ 841477 w 857257"/>
              <a:gd name="connsiteY1" fmla="*/ 890550 h 1816170"/>
              <a:gd name="connsiteX2" fmla="*/ 841477 w 857257"/>
              <a:gd name="connsiteY2" fmla="*/ 925611 h 1816170"/>
              <a:gd name="connsiteX3" fmla="*/ 0 w 857257"/>
              <a:gd name="connsiteY3" fmla="*/ 1816170 h 1816170"/>
              <a:gd name="connsiteX4" fmla="*/ 0 w 857257"/>
              <a:gd name="connsiteY4" fmla="*/ 0 h 18161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57257" h="1816170">
                <a:moveTo>
                  <a:pt x="0" y="0"/>
                </a:moveTo>
                <a:cubicBezTo>
                  <a:pt x="0" y="462811"/>
                  <a:pt x="301523" y="743293"/>
                  <a:pt x="841477" y="890550"/>
                </a:cubicBezTo>
                <a:cubicBezTo>
                  <a:pt x="862517" y="897560"/>
                  <a:pt x="862517" y="918601"/>
                  <a:pt x="841477" y="925611"/>
                </a:cubicBezTo>
                <a:cubicBezTo>
                  <a:pt x="301523" y="1072868"/>
                  <a:pt x="0" y="1353360"/>
                  <a:pt x="0" y="181617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dirty="0"/>
          </a:p>
        </p:txBody>
      </p:sp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5754CC1B-BB75-5C08-0EF4-46094143150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960792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4" progId="TCLayout.ActiveDocument.1">
                  <p:embed/>
                </p:oleObj>
              </mc:Choice>
              <mc:Fallback>
                <p:oleObj name="think-cell Slide" r:id="rId4" imgW="425" imgH="42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5754CC1B-BB75-5C08-0EF4-46094143150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reeform: Shape 3">
            <a:extLst>
              <a:ext uri="{FF2B5EF4-FFF2-40B4-BE49-F238E27FC236}">
                <a16:creationId xmlns:a16="http://schemas.microsoft.com/office/drawing/2014/main" id="{09A05D5A-9CCC-5188-4E3A-BF14F2F84135}"/>
              </a:ext>
            </a:extLst>
          </p:cNvPr>
          <p:cNvSpPr/>
          <p:nvPr userDrawn="1"/>
        </p:nvSpPr>
        <p:spPr>
          <a:xfrm>
            <a:off x="0" y="184645"/>
            <a:ext cx="264043" cy="559397"/>
          </a:xfrm>
          <a:custGeom>
            <a:avLst/>
            <a:gdLst>
              <a:gd name="connsiteX0" fmla="*/ 0 w 857257"/>
              <a:gd name="connsiteY0" fmla="*/ 0 h 1816170"/>
              <a:gd name="connsiteX1" fmla="*/ 841477 w 857257"/>
              <a:gd name="connsiteY1" fmla="*/ 890550 h 1816170"/>
              <a:gd name="connsiteX2" fmla="*/ 841477 w 857257"/>
              <a:gd name="connsiteY2" fmla="*/ 925611 h 1816170"/>
              <a:gd name="connsiteX3" fmla="*/ 0 w 857257"/>
              <a:gd name="connsiteY3" fmla="*/ 1816170 h 1816170"/>
              <a:gd name="connsiteX4" fmla="*/ 0 w 857257"/>
              <a:gd name="connsiteY4" fmla="*/ 0 h 18161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57257" h="1816170">
                <a:moveTo>
                  <a:pt x="0" y="0"/>
                </a:moveTo>
                <a:cubicBezTo>
                  <a:pt x="0" y="462811"/>
                  <a:pt x="301523" y="743293"/>
                  <a:pt x="841477" y="890550"/>
                </a:cubicBezTo>
                <a:cubicBezTo>
                  <a:pt x="862517" y="897560"/>
                  <a:pt x="862517" y="918601"/>
                  <a:pt x="841477" y="925611"/>
                </a:cubicBezTo>
                <a:cubicBezTo>
                  <a:pt x="301523" y="1072868"/>
                  <a:pt x="0" y="1353360"/>
                  <a:pt x="0" y="181617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73158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 and Tex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365125" y="1303338"/>
            <a:ext cx="3652838" cy="4489062"/>
          </a:xfrm>
          <a:prstGeom prst="rect">
            <a:avLst/>
          </a:prstGeom>
        </p:spPr>
        <p:txBody>
          <a:bodyPr lIns="36000" tIns="36000" rIns="36000" bIns="36000">
            <a:noAutofit/>
          </a:bodyPr>
          <a:lstStyle>
            <a:lvl1pPr marL="0" indent="0">
              <a:buNone/>
              <a:defRPr sz="2200"/>
            </a:lvl1pPr>
          </a:lstStyle>
          <a:p>
            <a:pPr lvl="0"/>
            <a:r>
              <a:rPr lang="en-GB" dirty="0"/>
              <a:t>Click to enter text content.</a:t>
            </a:r>
            <a:br>
              <a:rPr lang="en-GB" dirty="0"/>
            </a:br>
            <a:r>
              <a:rPr lang="en-US" dirty="0"/>
              <a:t>If text content appears too large please reduce the size of the font.</a:t>
            </a:r>
            <a:endParaRPr lang="en-GB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2120E7F-C0E1-48FE-9205-5741B91C8E6F}"/>
              </a:ext>
            </a:extLst>
          </p:cNvPr>
          <p:cNvSpPr>
            <a:spLocks noGrp="1"/>
          </p:cNvSpPr>
          <p:nvPr>
            <p:ph type="dt" sz="half" idx="28"/>
          </p:nvPr>
        </p:nvSpPr>
        <p:spPr/>
        <p:txBody>
          <a:bodyPr/>
          <a:lstStyle/>
          <a:p>
            <a:fld id="{B729584D-3365-47B8-9AC0-24723AB0A2D0}" type="datetime4">
              <a:rPr lang="en-GB" smtClean="0"/>
              <a:t>22 September 2025</a:t>
            </a:fld>
            <a:endParaRPr lang="en-GB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AFC227CF-7C01-4C8F-A012-E6EC9EFFB1B0}"/>
              </a:ext>
            </a:extLst>
          </p:cNvPr>
          <p:cNvSpPr>
            <a:spLocks noGrp="1"/>
          </p:cNvSpPr>
          <p:nvPr>
            <p:ph type="ftr" sz="quarter" idx="29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3D4743C-0184-4AE6-8901-D4C4FE13116A}"/>
              </a:ext>
            </a:extLst>
          </p:cNvPr>
          <p:cNvSpPr>
            <a:spLocks noGrp="1"/>
          </p:cNvSpPr>
          <p:nvPr>
            <p:ph type="sldNum" sz="quarter" idx="30"/>
          </p:nvPr>
        </p:nvSpPr>
        <p:spPr/>
        <p:txBody>
          <a:bodyPr/>
          <a:lstStyle/>
          <a:p>
            <a:fld id="{9F9F533D-B52E-4A2F-BF72-0ADD2D94BD75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78DB8D52-5A42-AF02-A231-C38CC50C6F79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4270375" y="1303337"/>
            <a:ext cx="7554913" cy="4787900"/>
          </a:xfrm>
          <a:custGeom>
            <a:avLst/>
            <a:gdLst>
              <a:gd name="connsiteX0" fmla="*/ 176482 w 7554913"/>
              <a:gd name="connsiteY0" fmla="*/ 0 h 4787900"/>
              <a:gd name="connsiteX1" fmla="*/ 7378431 w 7554913"/>
              <a:gd name="connsiteY1" fmla="*/ 0 h 4787900"/>
              <a:gd name="connsiteX2" fmla="*/ 7554913 w 7554913"/>
              <a:gd name="connsiteY2" fmla="*/ 176482 h 4787900"/>
              <a:gd name="connsiteX3" fmla="*/ 7554913 w 7554913"/>
              <a:gd name="connsiteY3" fmla="*/ 4611418 h 4787900"/>
              <a:gd name="connsiteX4" fmla="*/ 7378431 w 7554913"/>
              <a:gd name="connsiteY4" fmla="*/ 4787900 h 4787900"/>
              <a:gd name="connsiteX5" fmla="*/ 176482 w 7554913"/>
              <a:gd name="connsiteY5" fmla="*/ 4787900 h 4787900"/>
              <a:gd name="connsiteX6" fmla="*/ 0 w 7554913"/>
              <a:gd name="connsiteY6" fmla="*/ 4611418 h 4787900"/>
              <a:gd name="connsiteX7" fmla="*/ 0 w 7554913"/>
              <a:gd name="connsiteY7" fmla="*/ 2799479 h 4787900"/>
              <a:gd name="connsiteX8" fmla="*/ 3012 w 7554913"/>
              <a:gd name="connsiteY8" fmla="*/ 2763995 h 4787900"/>
              <a:gd name="connsiteX9" fmla="*/ 415133 w 7554913"/>
              <a:gd name="connsiteY9" fmla="*/ 2402680 h 4787900"/>
              <a:gd name="connsiteX10" fmla="*/ 415133 w 7554913"/>
              <a:gd name="connsiteY10" fmla="*/ 2385217 h 4787900"/>
              <a:gd name="connsiteX11" fmla="*/ 3012 w 7554913"/>
              <a:gd name="connsiteY11" fmla="*/ 2023907 h 4787900"/>
              <a:gd name="connsiteX12" fmla="*/ 0 w 7554913"/>
              <a:gd name="connsiteY12" fmla="*/ 1988423 h 4787900"/>
              <a:gd name="connsiteX13" fmla="*/ 0 w 7554913"/>
              <a:gd name="connsiteY13" fmla="*/ 176482 h 4787900"/>
              <a:gd name="connsiteX14" fmla="*/ 176482 w 7554913"/>
              <a:gd name="connsiteY14" fmla="*/ 0 h 47879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7554913" h="4787900">
                <a:moveTo>
                  <a:pt x="176482" y="0"/>
                </a:moveTo>
                <a:lnTo>
                  <a:pt x="7378431" y="0"/>
                </a:lnTo>
                <a:cubicBezTo>
                  <a:pt x="7475899" y="0"/>
                  <a:pt x="7554913" y="79014"/>
                  <a:pt x="7554913" y="176482"/>
                </a:cubicBezTo>
                <a:lnTo>
                  <a:pt x="7554913" y="4611418"/>
                </a:lnTo>
                <a:cubicBezTo>
                  <a:pt x="7554913" y="4708886"/>
                  <a:pt x="7475899" y="4787900"/>
                  <a:pt x="7378431" y="4787900"/>
                </a:cubicBezTo>
                <a:lnTo>
                  <a:pt x="176482" y="4787900"/>
                </a:lnTo>
                <a:cubicBezTo>
                  <a:pt x="79014" y="4787900"/>
                  <a:pt x="0" y="4708886"/>
                  <a:pt x="0" y="4611418"/>
                </a:cubicBezTo>
                <a:lnTo>
                  <a:pt x="0" y="2799479"/>
                </a:lnTo>
                <a:lnTo>
                  <a:pt x="3012" y="2763995"/>
                </a:lnTo>
                <a:cubicBezTo>
                  <a:pt x="35433" y="2581833"/>
                  <a:pt x="179824" y="2466853"/>
                  <a:pt x="415133" y="2402680"/>
                </a:cubicBezTo>
                <a:cubicBezTo>
                  <a:pt x="425612" y="2399188"/>
                  <a:pt x="425612" y="2388709"/>
                  <a:pt x="415133" y="2385217"/>
                </a:cubicBezTo>
                <a:cubicBezTo>
                  <a:pt x="179824" y="2321043"/>
                  <a:pt x="35433" y="2206068"/>
                  <a:pt x="3012" y="2023907"/>
                </a:cubicBezTo>
                <a:lnTo>
                  <a:pt x="0" y="1988423"/>
                </a:lnTo>
                <a:lnTo>
                  <a:pt x="0" y="176482"/>
                </a:lnTo>
                <a:cubicBezTo>
                  <a:pt x="0" y="79014"/>
                  <a:pt x="79014" y="0"/>
                  <a:pt x="176482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lIns="72000" tIns="216000" rIns="72000" bIns="72000" anchor="ctr">
            <a:noAutofit/>
          </a:bodyPr>
          <a:lstStyle>
            <a:lvl1pPr marL="0" indent="0" algn="ctr">
              <a:buNone/>
              <a:defRPr sz="2200" i="0" baseline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[Click here to insert image]</a:t>
            </a:r>
            <a:br>
              <a:rPr lang="en-GB" dirty="0"/>
            </a:br>
            <a:br>
              <a:rPr lang="en-GB" dirty="0"/>
            </a:br>
            <a:br>
              <a:rPr lang="en-GB" dirty="0"/>
            </a:br>
            <a:br>
              <a:rPr lang="en-GB" dirty="0"/>
            </a:br>
            <a:br>
              <a:rPr lang="en-GB" dirty="0"/>
            </a:br>
            <a:br>
              <a:rPr lang="en-GB" dirty="0"/>
            </a:br>
            <a:r>
              <a:rPr lang="en-GB" dirty="0"/>
              <a:t>[</a:t>
            </a:r>
            <a:r>
              <a:rPr lang="en-US" dirty="0"/>
              <a:t>The image can then be scaled within the frame by using the ‘Crop’ feature in the ‘Picture Format’ tab of the ribbon. Right click on image to add/edit alt text</a:t>
            </a:r>
            <a:r>
              <a:rPr lang="en-GB" dirty="0"/>
              <a:t>]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57407D7-26D4-4453-5DC7-A7011EC7E218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65126" y="5792400"/>
            <a:ext cx="3653156" cy="298800"/>
          </a:xfrm>
        </p:spPr>
        <p:txBody>
          <a:bodyPr lIns="0" tIns="0" rIns="0" bIns="0" anchor="b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800"/>
            </a:lvl1pPr>
            <a:lvl2pPr marL="357542" indent="0">
              <a:buNone/>
              <a:defRPr/>
            </a:lvl2pPr>
            <a:lvl3pPr marL="719982" indent="0">
              <a:buNone/>
              <a:defRPr/>
            </a:lvl3pPr>
            <a:lvl4pPr marL="1081424" indent="0">
              <a:buNone/>
              <a:defRPr/>
            </a:lvl4pPr>
            <a:lvl5pPr marL="1439964" indent="0">
              <a:buNone/>
              <a:defRPr/>
            </a:lvl5pPr>
          </a:lstStyle>
          <a:p>
            <a:pPr lvl="0"/>
            <a:r>
              <a:rPr lang="en-US" dirty="0"/>
              <a:t>Insert Source text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D7744E32-9E6E-5A11-A7A0-D8AFCFEDB90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5125" y="242888"/>
            <a:ext cx="11460163" cy="43088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89AF8F91-23D2-DD88-482D-7FAFF27C513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5125" y="694950"/>
            <a:ext cx="11460164" cy="352800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2400" i="0">
                <a:solidFill>
                  <a:schemeClr val="tx1"/>
                </a:solidFill>
                <a:latin typeface="+mn-lt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/>
              <a:t>Click to enter slide subtitle</a:t>
            </a:r>
          </a:p>
        </p:txBody>
      </p:sp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9FB64EB2-7F66-5CCC-3945-F5156896877F}"/>
              </a:ext>
            </a:extLst>
          </p:cNvPr>
          <p:cNvSpPr/>
          <p:nvPr/>
        </p:nvSpPr>
        <p:spPr>
          <a:xfrm>
            <a:off x="0" y="184645"/>
            <a:ext cx="264043" cy="559397"/>
          </a:xfrm>
          <a:custGeom>
            <a:avLst/>
            <a:gdLst>
              <a:gd name="connsiteX0" fmla="*/ 0 w 857257"/>
              <a:gd name="connsiteY0" fmla="*/ 0 h 1816170"/>
              <a:gd name="connsiteX1" fmla="*/ 841477 w 857257"/>
              <a:gd name="connsiteY1" fmla="*/ 890550 h 1816170"/>
              <a:gd name="connsiteX2" fmla="*/ 841477 w 857257"/>
              <a:gd name="connsiteY2" fmla="*/ 925611 h 1816170"/>
              <a:gd name="connsiteX3" fmla="*/ 0 w 857257"/>
              <a:gd name="connsiteY3" fmla="*/ 1816170 h 1816170"/>
              <a:gd name="connsiteX4" fmla="*/ 0 w 857257"/>
              <a:gd name="connsiteY4" fmla="*/ 0 h 18161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57257" h="1816170">
                <a:moveTo>
                  <a:pt x="0" y="0"/>
                </a:moveTo>
                <a:cubicBezTo>
                  <a:pt x="0" y="462811"/>
                  <a:pt x="301523" y="743293"/>
                  <a:pt x="841477" y="890550"/>
                </a:cubicBezTo>
                <a:cubicBezTo>
                  <a:pt x="862517" y="897560"/>
                  <a:pt x="862517" y="918601"/>
                  <a:pt x="841477" y="925611"/>
                </a:cubicBezTo>
                <a:cubicBezTo>
                  <a:pt x="301523" y="1072868"/>
                  <a:pt x="0" y="1353360"/>
                  <a:pt x="0" y="181617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dirty="0"/>
          </a:p>
        </p:txBody>
      </p:sp>
      <p:sp>
        <p:nvSpPr>
          <p:cNvPr id="2" name="Freeform: Shape 1">
            <a:extLst>
              <a:ext uri="{FF2B5EF4-FFF2-40B4-BE49-F238E27FC236}">
                <a16:creationId xmlns:a16="http://schemas.microsoft.com/office/drawing/2014/main" id="{0AC5B506-7665-AFF6-5244-82648A658A87}"/>
              </a:ext>
            </a:extLst>
          </p:cNvPr>
          <p:cNvSpPr/>
          <p:nvPr userDrawn="1"/>
        </p:nvSpPr>
        <p:spPr>
          <a:xfrm>
            <a:off x="0" y="184645"/>
            <a:ext cx="264043" cy="559397"/>
          </a:xfrm>
          <a:custGeom>
            <a:avLst/>
            <a:gdLst>
              <a:gd name="connsiteX0" fmla="*/ 0 w 857257"/>
              <a:gd name="connsiteY0" fmla="*/ 0 h 1816170"/>
              <a:gd name="connsiteX1" fmla="*/ 841477 w 857257"/>
              <a:gd name="connsiteY1" fmla="*/ 890550 h 1816170"/>
              <a:gd name="connsiteX2" fmla="*/ 841477 w 857257"/>
              <a:gd name="connsiteY2" fmla="*/ 925611 h 1816170"/>
              <a:gd name="connsiteX3" fmla="*/ 0 w 857257"/>
              <a:gd name="connsiteY3" fmla="*/ 1816170 h 1816170"/>
              <a:gd name="connsiteX4" fmla="*/ 0 w 857257"/>
              <a:gd name="connsiteY4" fmla="*/ 0 h 18161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57257" h="1816170">
                <a:moveTo>
                  <a:pt x="0" y="0"/>
                </a:moveTo>
                <a:cubicBezTo>
                  <a:pt x="0" y="462811"/>
                  <a:pt x="301523" y="743293"/>
                  <a:pt x="841477" y="890550"/>
                </a:cubicBezTo>
                <a:cubicBezTo>
                  <a:pt x="862517" y="897560"/>
                  <a:pt x="862517" y="918601"/>
                  <a:pt x="841477" y="925611"/>
                </a:cubicBezTo>
                <a:cubicBezTo>
                  <a:pt x="301523" y="1072868"/>
                  <a:pt x="0" y="1353360"/>
                  <a:pt x="0" y="181617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702325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 and Tex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Picture Placeholder 18">
            <a:extLst>
              <a:ext uri="{FF2B5EF4-FFF2-40B4-BE49-F238E27FC236}">
                <a16:creationId xmlns:a16="http://schemas.microsoft.com/office/drawing/2014/main" id="{CDFB8F13-AB38-63DB-D1F1-86B6EF73DD2A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8172451" y="242888"/>
            <a:ext cx="3652838" cy="5848312"/>
          </a:xfrm>
          <a:custGeom>
            <a:avLst/>
            <a:gdLst>
              <a:gd name="connsiteX0" fmla="*/ 190569 w 3652838"/>
              <a:gd name="connsiteY0" fmla="*/ 0 h 5848312"/>
              <a:gd name="connsiteX1" fmla="*/ 3462269 w 3652838"/>
              <a:gd name="connsiteY1" fmla="*/ 0 h 5848312"/>
              <a:gd name="connsiteX2" fmla="*/ 3652838 w 3652838"/>
              <a:gd name="connsiteY2" fmla="*/ 190569 h 5848312"/>
              <a:gd name="connsiteX3" fmla="*/ 3652838 w 3652838"/>
              <a:gd name="connsiteY3" fmla="*/ 5657743 h 5848312"/>
              <a:gd name="connsiteX4" fmla="*/ 3462269 w 3652838"/>
              <a:gd name="connsiteY4" fmla="*/ 5848312 h 5848312"/>
              <a:gd name="connsiteX5" fmla="*/ 190569 w 3652838"/>
              <a:gd name="connsiteY5" fmla="*/ 5848312 h 5848312"/>
              <a:gd name="connsiteX6" fmla="*/ 0 w 3652838"/>
              <a:gd name="connsiteY6" fmla="*/ 5657743 h 5848312"/>
              <a:gd name="connsiteX7" fmla="*/ 0 w 3652838"/>
              <a:gd name="connsiteY7" fmla="*/ 3402065 h 5848312"/>
              <a:gd name="connsiteX8" fmla="*/ 7373 w 3652838"/>
              <a:gd name="connsiteY8" fmla="*/ 3315183 h 5848312"/>
              <a:gd name="connsiteX9" fmla="*/ 442863 w 3652838"/>
              <a:gd name="connsiteY9" fmla="*/ 2933380 h 5848312"/>
              <a:gd name="connsiteX10" fmla="*/ 442863 w 3652838"/>
              <a:gd name="connsiteY10" fmla="*/ 2914928 h 5848312"/>
              <a:gd name="connsiteX11" fmla="*/ 7373 w 3652838"/>
              <a:gd name="connsiteY11" fmla="*/ 2533130 h 5848312"/>
              <a:gd name="connsiteX12" fmla="*/ 0 w 3652838"/>
              <a:gd name="connsiteY12" fmla="*/ 2446249 h 5848312"/>
              <a:gd name="connsiteX13" fmla="*/ 0 w 3652838"/>
              <a:gd name="connsiteY13" fmla="*/ 190569 h 5848312"/>
              <a:gd name="connsiteX14" fmla="*/ 190569 w 3652838"/>
              <a:gd name="connsiteY14" fmla="*/ 0 h 58483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3652838" h="5848312">
                <a:moveTo>
                  <a:pt x="190569" y="0"/>
                </a:moveTo>
                <a:lnTo>
                  <a:pt x="3462269" y="0"/>
                </a:lnTo>
                <a:cubicBezTo>
                  <a:pt x="3567517" y="0"/>
                  <a:pt x="3652838" y="85321"/>
                  <a:pt x="3652838" y="190569"/>
                </a:cubicBezTo>
                <a:lnTo>
                  <a:pt x="3652838" y="5657743"/>
                </a:lnTo>
                <a:cubicBezTo>
                  <a:pt x="3652838" y="5762991"/>
                  <a:pt x="3567517" y="5848312"/>
                  <a:pt x="3462269" y="5848312"/>
                </a:cubicBezTo>
                <a:lnTo>
                  <a:pt x="190569" y="5848312"/>
                </a:lnTo>
                <a:cubicBezTo>
                  <a:pt x="85321" y="5848312"/>
                  <a:pt x="0" y="5762991"/>
                  <a:pt x="0" y="5657743"/>
                </a:cubicBezTo>
                <a:lnTo>
                  <a:pt x="0" y="3402065"/>
                </a:lnTo>
                <a:lnTo>
                  <a:pt x="7373" y="3315183"/>
                </a:lnTo>
                <a:cubicBezTo>
                  <a:pt x="41632" y="3122692"/>
                  <a:pt x="194211" y="3001193"/>
                  <a:pt x="442863" y="2933380"/>
                </a:cubicBezTo>
                <a:cubicBezTo>
                  <a:pt x="453936" y="2929691"/>
                  <a:pt x="453936" y="2918617"/>
                  <a:pt x="442863" y="2914928"/>
                </a:cubicBezTo>
                <a:cubicBezTo>
                  <a:pt x="194211" y="2847115"/>
                  <a:pt x="41632" y="2725620"/>
                  <a:pt x="7373" y="2533130"/>
                </a:cubicBezTo>
                <a:lnTo>
                  <a:pt x="0" y="2446249"/>
                </a:lnTo>
                <a:lnTo>
                  <a:pt x="0" y="190569"/>
                </a:lnTo>
                <a:cubicBezTo>
                  <a:pt x="0" y="85321"/>
                  <a:pt x="85321" y="0"/>
                  <a:pt x="190569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lIns="108000" tIns="576000" rIns="108000" bIns="72000" anchor="ctr">
            <a:noAutofit/>
          </a:bodyPr>
          <a:lstStyle>
            <a:lvl1pPr marL="0" indent="0" algn="ctr">
              <a:buNone/>
              <a:defRPr sz="2200" i="0" baseline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[Click here to insert image]</a:t>
            </a:r>
            <a:br>
              <a:rPr lang="en-GB" dirty="0"/>
            </a:br>
            <a:br>
              <a:rPr lang="en-GB" dirty="0"/>
            </a:br>
            <a:br>
              <a:rPr lang="en-GB" dirty="0"/>
            </a:br>
            <a:br>
              <a:rPr lang="en-GB" dirty="0"/>
            </a:br>
            <a:br>
              <a:rPr lang="en-GB" dirty="0"/>
            </a:br>
            <a:br>
              <a:rPr lang="en-GB" dirty="0"/>
            </a:br>
            <a:br>
              <a:rPr lang="en-GB" dirty="0"/>
            </a:br>
            <a:r>
              <a:rPr lang="en-GB" dirty="0"/>
              <a:t>[</a:t>
            </a:r>
            <a:r>
              <a:rPr lang="en-US" dirty="0"/>
              <a:t>The image can then be scaled within the frame by using the ‘Crop’ feature in the ‘Picture Format’ tab of the ribbon. Right click on image to add/edit alt text]</a:t>
            </a:r>
            <a:endParaRPr lang="en-GB" dirty="0"/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365125" y="1304101"/>
            <a:ext cx="7554913" cy="4490737"/>
          </a:xfrm>
          <a:prstGeom prst="rect">
            <a:avLst/>
          </a:prstGeom>
        </p:spPr>
        <p:txBody>
          <a:bodyPr lIns="36000" tIns="36000" rIns="36000" bIns="36000">
            <a:noAutofit/>
          </a:bodyPr>
          <a:lstStyle>
            <a:lvl1pPr marL="0" indent="0">
              <a:buClr>
                <a:schemeClr val="tx2"/>
              </a:buClr>
              <a:buFont typeface="Arial" panose="020B0604020202020204" pitchFamily="34" charset="0"/>
              <a:buNone/>
              <a:defRPr/>
            </a:lvl1pPr>
            <a:lvl2pPr marL="357542" indent="0">
              <a:buClr>
                <a:schemeClr val="tx1"/>
              </a:buClr>
              <a:buFont typeface="Arial" panose="020B0604020202020204" pitchFamily="34" charset="0"/>
              <a:buNone/>
              <a:defRPr/>
            </a:lvl2pPr>
            <a:lvl3pPr marL="719982" indent="0">
              <a:buClr>
                <a:schemeClr val="tx1"/>
              </a:buClr>
              <a:buFont typeface="Arial" panose="020B0604020202020204" pitchFamily="34" charset="0"/>
              <a:buNone/>
              <a:defRPr/>
            </a:lvl3pPr>
            <a:lvl4pPr marL="1081424" indent="0">
              <a:buClr>
                <a:schemeClr val="tx1"/>
              </a:buClr>
              <a:buFont typeface="Arial" panose="020B0604020202020204" pitchFamily="34" charset="0"/>
              <a:buNone/>
              <a:defRPr/>
            </a:lvl4pPr>
            <a:lvl5pPr marL="1439964" indent="0">
              <a:buClr>
                <a:schemeClr val="tx1"/>
              </a:buClr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dirty="0"/>
              <a:t>Click to enter text content.</a:t>
            </a:r>
            <a:br>
              <a:rPr lang="en-GB" dirty="0"/>
            </a:br>
            <a:r>
              <a:rPr lang="en-US" dirty="0"/>
              <a:t>If text content appears too large please reduce the size of the font.</a:t>
            </a:r>
            <a:endParaRPr lang="en-GB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4E1E8257-6B8C-4088-985E-4C3DCEE9DEB1}"/>
              </a:ext>
            </a:extLst>
          </p:cNvPr>
          <p:cNvSpPr>
            <a:spLocks noGrp="1"/>
          </p:cNvSpPr>
          <p:nvPr>
            <p:ph type="dt" sz="half" idx="28"/>
          </p:nvPr>
        </p:nvSpPr>
        <p:spPr/>
        <p:txBody>
          <a:bodyPr/>
          <a:lstStyle/>
          <a:p>
            <a:fld id="{E018087B-459D-4729-B449-CCF6702E8E13}" type="datetime4">
              <a:rPr lang="en-GB" smtClean="0"/>
              <a:t>22 September 2025</a:t>
            </a:fld>
            <a:endParaRPr lang="en-GB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06002AE1-2317-4E5A-B166-4104FA8F071A}"/>
              </a:ext>
            </a:extLst>
          </p:cNvPr>
          <p:cNvSpPr>
            <a:spLocks noGrp="1"/>
          </p:cNvSpPr>
          <p:nvPr>
            <p:ph type="ftr" sz="quarter" idx="29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DFB4A4D5-34F7-4B9E-9971-87C022586B14}"/>
              </a:ext>
            </a:extLst>
          </p:cNvPr>
          <p:cNvSpPr>
            <a:spLocks noGrp="1"/>
          </p:cNvSpPr>
          <p:nvPr>
            <p:ph type="sldNum" sz="quarter" idx="30"/>
          </p:nvPr>
        </p:nvSpPr>
        <p:spPr/>
        <p:txBody>
          <a:bodyPr/>
          <a:lstStyle/>
          <a:p>
            <a:fld id="{9F9F533D-B52E-4A2F-BF72-0ADD2D94BD75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8D9C632-48DD-68F1-C98B-0AA2BE39A14E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65125" y="5792400"/>
            <a:ext cx="7555231" cy="298800"/>
          </a:xfrm>
        </p:spPr>
        <p:txBody>
          <a:bodyPr lIns="0" tIns="0" rIns="0" bIns="0" anchor="b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800"/>
            </a:lvl1pPr>
            <a:lvl2pPr marL="357542" indent="0">
              <a:spcBef>
                <a:spcPts val="0"/>
              </a:spcBef>
              <a:spcAft>
                <a:spcPts val="0"/>
              </a:spcAft>
              <a:buNone/>
              <a:defRPr/>
            </a:lvl2pPr>
            <a:lvl3pPr marL="719982" indent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1081424" indent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1439964" indent="0">
              <a:spcBef>
                <a:spcPts val="0"/>
              </a:spcBef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en-US" dirty="0"/>
              <a:t>Insert Source text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C102126E-B6A8-2921-6EF1-1AB371E2B26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5126" y="242888"/>
            <a:ext cx="7554912" cy="43088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6475D3A0-2D66-AC67-134B-77A55D269BD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5125" y="694950"/>
            <a:ext cx="7554913" cy="352800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2400" i="0">
                <a:solidFill>
                  <a:schemeClr val="tx1"/>
                </a:solidFill>
                <a:latin typeface="+mn-lt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/>
              <a:t>Click to enter slide subtitle</a:t>
            </a:r>
          </a:p>
        </p:txBody>
      </p:sp>
      <p:sp>
        <p:nvSpPr>
          <p:cNvPr id="15" name="Freeform: Shape 14">
            <a:extLst>
              <a:ext uri="{FF2B5EF4-FFF2-40B4-BE49-F238E27FC236}">
                <a16:creationId xmlns:a16="http://schemas.microsoft.com/office/drawing/2014/main" id="{721FF2E9-41D3-FCB0-8100-2CB5AD7B0637}"/>
              </a:ext>
            </a:extLst>
          </p:cNvPr>
          <p:cNvSpPr/>
          <p:nvPr/>
        </p:nvSpPr>
        <p:spPr>
          <a:xfrm>
            <a:off x="0" y="184645"/>
            <a:ext cx="264043" cy="559397"/>
          </a:xfrm>
          <a:custGeom>
            <a:avLst/>
            <a:gdLst>
              <a:gd name="connsiteX0" fmla="*/ 0 w 857257"/>
              <a:gd name="connsiteY0" fmla="*/ 0 h 1816170"/>
              <a:gd name="connsiteX1" fmla="*/ 841477 w 857257"/>
              <a:gd name="connsiteY1" fmla="*/ 890550 h 1816170"/>
              <a:gd name="connsiteX2" fmla="*/ 841477 w 857257"/>
              <a:gd name="connsiteY2" fmla="*/ 925611 h 1816170"/>
              <a:gd name="connsiteX3" fmla="*/ 0 w 857257"/>
              <a:gd name="connsiteY3" fmla="*/ 1816170 h 1816170"/>
              <a:gd name="connsiteX4" fmla="*/ 0 w 857257"/>
              <a:gd name="connsiteY4" fmla="*/ 0 h 18161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57257" h="1816170">
                <a:moveTo>
                  <a:pt x="0" y="0"/>
                </a:moveTo>
                <a:cubicBezTo>
                  <a:pt x="0" y="462811"/>
                  <a:pt x="301523" y="743293"/>
                  <a:pt x="841477" y="890550"/>
                </a:cubicBezTo>
                <a:cubicBezTo>
                  <a:pt x="862517" y="897560"/>
                  <a:pt x="862517" y="918601"/>
                  <a:pt x="841477" y="925611"/>
                </a:cubicBezTo>
                <a:cubicBezTo>
                  <a:pt x="301523" y="1072868"/>
                  <a:pt x="0" y="1353360"/>
                  <a:pt x="0" y="181617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dirty="0"/>
          </a:p>
        </p:txBody>
      </p:sp>
      <p:sp>
        <p:nvSpPr>
          <p:cNvPr id="2" name="Freeform: Shape 1">
            <a:extLst>
              <a:ext uri="{FF2B5EF4-FFF2-40B4-BE49-F238E27FC236}">
                <a16:creationId xmlns:a16="http://schemas.microsoft.com/office/drawing/2014/main" id="{4A4A6B2A-6054-FB98-6941-36A9785D96EC}"/>
              </a:ext>
            </a:extLst>
          </p:cNvPr>
          <p:cNvSpPr/>
          <p:nvPr userDrawn="1"/>
        </p:nvSpPr>
        <p:spPr>
          <a:xfrm>
            <a:off x="0" y="184645"/>
            <a:ext cx="264043" cy="559397"/>
          </a:xfrm>
          <a:custGeom>
            <a:avLst/>
            <a:gdLst>
              <a:gd name="connsiteX0" fmla="*/ 0 w 857257"/>
              <a:gd name="connsiteY0" fmla="*/ 0 h 1816170"/>
              <a:gd name="connsiteX1" fmla="*/ 841477 w 857257"/>
              <a:gd name="connsiteY1" fmla="*/ 890550 h 1816170"/>
              <a:gd name="connsiteX2" fmla="*/ 841477 w 857257"/>
              <a:gd name="connsiteY2" fmla="*/ 925611 h 1816170"/>
              <a:gd name="connsiteX3" fmla="*/ 0 w 857257"/>
              <a:gd name="connsiteY3" fmla="*/ 1816170 h 1816170"/>
              <a:gd name="connsiteX4" fmla="*/ 0 w 857257"/>
              <a:gd name="connsiteY4" fmla="*/ 0 h 18161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57257" h="1816170">
                <a:moveTo>
                  <a:pt x="0" y="0"/>
                </a:moveTo>
                <a:cubicBezTo>
                  <a:pt x="0" y="462811"/>
                  <a:pt x="301523" y="743293"/>
                  <a:pt x="841477" y="890550"/>
                </a:cubicBezTo>
                <a:cubicBezTo>
                  <a:pt x="862517" y="897560"/>
                  <a:pt x="862517" y="918601"/>
                  <a:pt x="841477" y="925611"/>
                </a:cubicBezTo>
                <a:cubicBezTo>
                  <a:pt x="301523" y="1072868"/>
                  <a:pt x="0" y="1353360"/>
                  <a:pt x="0" y="181617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316993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 and Tex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7C1E2B43-F98E-82F3-DBAA-FC13402D7C79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4270375" y="242888"/>
            <a:ext cx="7554914" cy="5848312"/>
          </a:xfrm>
          <a:custGeom>
            <a:avLst/>
            <a:gdLst>
              <a:gd name="connsiteX0" fmla="*/ 2145019 w 7554914"/>
              <a:gd name="connsiteY0" fmla="*/ 0 h 5848312"/>
              <a:gd name="connsiteX1" fmla="*/ 7370751 w 7554914"/>
              <a:gd name="connsiteY1" fmla="*/ 0 h 5848312"/>
              <a:gd name="connsiteX2" fmla="*/ 7554914 w 7554914"/>
              <a:gd name="connsiteY2" fmla="*/ 184163 h 5848312"/>
              <a:gd name="connsiteX3" fmla="*/ 7554914 w 7554914"/>
              <a:gd name="connsiteY3" fmla="*/ 5664149 h 5848312"/>
              <a:gd name="connsiteX4" fmla="*/ 7370751 w 7554914"/>
              <a:gd name="connsiteY4" fmla="*/ 5848312 h 5848312"/>
              <a:gd name="connsiteX5" fmla="*/ 184163 w 7554914"/>
              <a:gd name="connsiteY5" fmla="*/ 5848312 h 5848312"/>
              <a:gd name="connsiteX6" fmla="*/ 0 w 7554914"/>
              <a:gd name="connsiteY6" fmla="*/ 5664149 h 5848312"/>
              <a:gd name="connsiteX7" fmla="*/ 0 w 7554914"/>
              <a:gd name="connsiteY7" fmla="*/ 2161063 h 5848312"/>
              <a:gd name="connsiteX8" fmla="*/ 38324 w 7554914"/>
              <a:gd name="connsiteY8" fmla="*/ 2036037 h 5848312"/>
              <a:gd name="connsiteX9" fmla="*/ 1172960 w 7554914"/>
              <a:gd name="connsiteY9" fmla="*/ 1360305 h 5848312"/>
              <a:gd name="connsiteX10" fmla="*/ 1236325 w 7554914"/>
              <a:gd name="connsiteY10" fmla="*/ 1296939 h 5848312"/>
              <a:gd name="connsiteX11" fmla="*/ 1236325 w 7554914"/>
              <a:gd name="connsiteY11" fmla="*/ 927309 h 5848312"/>
              <a:gd name="connsiteX12" fmla="*/ 1977178 w 7554914"/>
              <a:gd name="connsiteY12" fmla="*/ 16657 h 58483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7554914" h="5848312">
                <a:moveTo>
                  <a:pt x="2145019" y="0"/>
                </a:moveTo>
                <a:lnTo>
                  <a:pt x="7370751" y="0"/>
                </a:lnTo>
                <a:cubicBezTo>
                  <a:pt x="7472461" y="0"/>
                  <a:pt x="7554914" y="82453"/>
                  <a:pt x="7554914" y="184163"/>
                </a:cubicBezTo>
                <a:lnTo>
                  <a:pt x="7554914" y="5664149"/>
                </a:lnTo>
                <a:cubicBezTo>
                  <a:pt x="7554914" y="5765859"/>
                  <a:pt x="7472461" y="5848312"/>
                  <a:pt x="7370751" y="5848312"/>
                </a:cubicBezTo>
                <a:lnTo>
                  <a:pt x="184163" y="5848312"/>
                </a:lnTo>
                <a:cubicBezTo>
                  <a:pt x="82453" y="5848312"/>
                  <a:pt x="0" y="5765859"/>
                  <a:pt x="0" y="5664149"/>
                </a:cubicBezTo>
                <a:lnTo>
                  <a:pt x="0" y="2161063"/>
                </a:lnTo>
                <a:lnTo>
                  <a:pt x="38324" y="2036037"/>
                </a:lnTo>
                <a:cubicBezTo>
                  <a:pt x="232381" y="1588024"/>
                  <a:pt x="681881" y="1376146"/>
                  <a:pt x="1172960" y="1360305"/>
                </a:cubicBezTo>
                <a:cubicBezTo>
                  <a:pt x="1215204" y="1360305"/>
                  <a:pt x="1236325" y="1328624"/>
                  <a:pt x="1236325" y="1296939"/>
                </a:cubicBezTo>
                <a:lnTo>
                  <a:pt x="1236325" y="927309"/>
                </a:lnTo>
                <a:cubicBezTo>
                  <a:pt x="1236325" y="474509"/>
                  <a:pt x="1551669" y="102568"/>
                  <a:pt x="1977178" y="16657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lIns="180000" tIns="576000" bIns="72000" anchor="ctr">
            <a:noAutofit/>
          </a:bodyPr>
          <a:lstStyle>
            <a:lvl1pPr marL="0" indent="0" algn="ctr">
              <a:buNone/>
              <a:defRPr sz="2200" i="0" baseline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[Click here to insert image]</a:t>
            </a:r>
            <a:br>
              <a:rPr lang="en-GB" dirty="0"/>
            </a:br>
            <a:br>
              <a:rPr lang="en-GB" dirty="0"/>
            </a:br>
            <a:br>
              <a:rPr lang="en-GB" dirty="0"/>
            </a:br>
            <a:br>
              <a:rPr lang="en-GB" dirty="0"/>
            </a:br>
            <a:br>
              <a:rPr lang="en-GB" dirty="0"/>
            </a:br>
            <a:br>
              <a:rPr lang="en-GB" dirty="0"/>
            </a:br>
            <a:br>
              <a:rPr lang="en-GB" dirty="0"/>
            </a:br>
            <a:r>
              <a:rPr lang="en-GB" dirty="0"/>
              <a:t>[</a:t>
            </a:r>
            <a:r>
              <a:rPr lang="en-US" dirty="0"/>
              <a:t>The image can then be scaled within the frame by using the ‘Crop’ feature in the ‘Picture Format’ tab of the ribbon. Right click on image to add/edit alt text</a:t>
            </a:r>
            <a:r>
              <a:rPr lang="en-GB" dirty="0"/>
              <a:t>]</a:t>
            </a:r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365126" y="1304101"/>
            <a:ext cx="3652839" cy="4490737"/>
          </a:xfrm>
          <a:prstGeom prst="rect">
            <a:avLst/>
          </a:prstGeom>
        </p:spPr>
        <p:txBody>
          <a:bodyPr lIns="36000" tIns="36000" rIns="36000" bIns="36000">
            <a:noAutofit/>
          </a:bodyPr>
          <a:lstStyle>
            <a:lvl1pPr marL="0" indent="0">
              <a:buClr>
                <a:schemeClr val="tx2"/>
              </a:buClr>
              <a:buFont typeface="Arial" panose="020B0604020202020204" pitchFamily="34" charset="0"/>
              <a:buNone/>
              <a:defRPr/>
            </a:lvl1pPr>
            <a:lvl2pPr marL="357542" indent="0">
              <a:buClr>
                <a:schemeClr val="tx1"/>
              </a:buClr>
              <a:buFont typeface="Arial" panose="020B0604020202020204" pitchFamily="34" charset="0"/>
              <a:buNone/>
              <a:defRPr/>
            </a:lvl2pPr>
            <a:lvl3pPr marL="719982" indent="0">
              <a:buClr>
                <a:schemeClr val="tx1"/>
              </a:buClr>
              <a:buFont typeface="Arial" panose="020B0604020202020204" pitchFamily="34" charset="0"/>
              <a:buNone/>
              <a:defRPr/>
            </a:lvl3pPr>
            <a:lvl4pPr marL="1081424" indent="0">
              <a:buClr>
                <a:schemeClr val="tx1"/>
              </a:buClr>
              <a:buFont typeface="Arial" panose="020B0604020202020204" pitchFamily="34" charset="0"/>
              <a:buNone/>
              <a:defRPr/>
            </a:lvl4pPr>
            <a:lvl5pPr marL="1439964" indent="0">
              <a:buClr>
                <a:schemeClr val="tx1"/>
              </a:buClr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dirty="0"/>
              <a:t>Click to enter text content.</a:t>
            </a:r>
            <a:br>
              <a:rPr lang="en-GB" dirty="0"/>
            </a:br>
            <a:r>
              <a:rPr lang="en-US" dirty="0"/>
              <a:t>If text content appears too large please reduce the size of the font.</a:t>
            </a:r>
            <a:endParaRPr lang="en-GB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4E1E8257-6B8C-4088-985E-4C3DCEE9DEB1}"/>
              </a:ext>
            </a:extLst>
          </p:cNvPr>
          <p:cNvSpPr>
            <a:spLocks noGrp="1"/>
          </p:cNvSpPr>
          <p:nvPr>
            <p:ph type="dt" sz="half" idx="28"/>
          </p:nvPr>
        </p:nvSpPr>
        <p:spPr/>
        <p:txBody>
          <a:bodyPr/>
          <a:lstStyle/>
          <a:p>
            <a:fld id="{E018087B-459D-4729-B449-CCF6702E8E13}" type="datetime4">
              <a:rPr lang="en-GB" smtClean="0"/>
              <a:t>22 September 2025</a:t>
            </a:fld>
            <a:endParaRPr lang="en-GB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06002AE1-2317-4E5A-B166-4104FA8F071A}"/>
              </a:ext>
            </a:extLst>
          </p:cNvPr>
          <p:cNvSpPr>
            <a:spLocks noGrp="1"/>
          </p:cNvSpPr>
          <p:nvPr>
            <p:ph type="ftr" sz="quarter" idx="29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DFB4A4D5-34F7-4B9E-9971-87C022586B14}"/>
              </a:ext>
            </a:extLst>
          </p:cNvPr>
          <p:cNvSpPr>
            <a:spLocks noGrp="1"/>
          </p:cNvSpPr>
          <p:nvPr>
            <p:ph type="sldNum" sz="quarter" idx="30"/>
          </p:nvPr>
        </p:nvSpPr>
        <p:spPr/>
        <p:txBody>
          <a:bodyPr/>
          <a:lstStyle/>
          <a:p>
            <a:fld id="{9F9F533D-B52E-4A2F-BF72-0ADD2D94BD75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8D9C632-48DD-68F1-C98B-0AA2BE39A14E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65126" y="5792400"/>
            <a:ext cx="3652993" cy="298800"/>
          </a:xfrm>
        </p:spPr>
        <p:txBody>
          <a:bodyPr lIns="0" tIns="0" rIns="0" bIns="0" anchor="b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800"/>
            </a:lvl1pPr>
            <a:lvl2pPr marL="357542" indent="0">
              <a:spcBef>
                <a:spcPts val="0"/>
              </a:spcBef>
              <a:spcAft>
                <a:spcPts val="0"/>
              </a:spcAft>
              <a:buNone/>
              <a:defRPr/>
            </a:lvl2pPr>
            <a:lvl3pPr marL="719982" indent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1081424" indent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1439964" indent="0">
              <a:spcBef>
                <a:spcPts val="0"/>
              </a:spcBef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en-US" dirty="0"/>
              <a:t>Insert Source text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D08CFF33-B49E-9711-53F9-19D0CC0A16D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5126" y="242888"/>
            <a:ext cx="3905250" cy="430887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FA3CE1FB-D5F5-92E1-9D34-DB8E8889C90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5125" y="694950"/>
            <a:ext cx="3905250" cy="352800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2400" i="0">
                <a:solidFill>
                  <a:schemeClr val="tx1"/>
                </a:solidFill>
                <a:latin typeface="+mn-lt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/>
              <a:t>Click to enter slide subtitle</a:t>
            </a:r>
          </a:p>
        </p:txBody>
      </p:sp>
      <p:sp>
        <p:nvSpPr>
          <p:cNvPr id="15" name="Freeform: Shape 14">
            <a:extLst>
              <a:ext uri="{FF2B5EF4-FFF2-40B4-BE49-F238E27FC236}">
                <a16:creationId xmlns:a16="http://schemas.microsoft.com/office/drawing/2014/main" id="{CB91AF96-43AB-49E0-5AA2-71826DA96391}"/>
              </a:ext>
            </a:extLst>
          </p:cNvPr>
          <p:cNvSpPr/>
          <p:nvPr/>
        </p:nvSpPr>
        <p:spPr>
          <a:xfrm>
            <a:off x="0" y="184645"/>
            <a:ext cx="264043" cy="559397"/>
          </a:xfrm>
          <a:custGeom>
            <a:avLst/>
            <a:gdLst>
              <a:gd name="connsiteX0" fmla="*/ 0 w 857257"/>
              <a:gd name="connsiteY0" fmla="*/ 0 h 1816170"/>
              <a:gd name="connsiteX1" fmla="*/ 841477 w 857257"/>
              <a:gd name="connsiteY1" fmla="*/ 890550 h 1816170"/>
              <a:gd name="connsiteX2" fmla="*/ 841477 w 857257"/>
              <a:gd name="connsiteY2" fmla="*/ 925611 h 1816170"/>
              <a:gd name="connsiteX3" fmla="*/ 0 w 857257"/>
              <a:gd name="connsiteY3" fmla="*/ 1816170 h 1816170"/>
              <a:gd name="connsiteX4" fmla="*/ 0 w 857257"/>
              <a:gd name="connsiteY4" fmla="*/ 0 h 18161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57257" h="1816170">
                <a:moveTo>
                  <a:pt x="0" y="0"/>
                </a:moveTo>
                <a:cubicBezTo>
                  <a:pt x="0" y="462811"/>
                  <a:pt x="301523" y="743293"/>
                  <a:pt x="841477" y="890550"/>
                </a:cubicBezTo>
                <a:cubicBezTo>
                  <a:pt x="862517" y="897560"/>
                  <a:pt x="862517" y="918601"/>
                  <a:pt x="841477" y="925611"/>
                </a:cubicBezTo>
                <a:cubicBezTo>
                  <a:pt x="301523" y="1072868"/>
                  <a:pt x="0" y="1353360"/>
                  <a:pt x="0" y="181617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dirty="0"/>
          </a:p>
        </p:txBody>
      </p:sp>
      <p:sp>
        <p:nvSpPr>
          <p:cNvPr id="2" name="Freeform: Shape 1">
            <a:extLst>
              <a:ext uri="{FF2B5EF4-FFF2-40B4-BE49-F238E27FC236}">
                <a16:creationId xmlns:a16="http://schemas.microsoft.com/office/drawing/2014/main" id="{196294BD-73D4-ECCE-653C-2F2D34CF4FB5}"/>
              </a:ext>
            </a:extLst>
          </p:cNvPr>
          <p:cNvSpPr/>
          <p:nvPr userDrawn="1"/>
        </p:nvSpPr>
        <p:spPr>
          <a:xfrm>
            <a:off x="0" y="184645"/>
            <a:ext cx="264043" cy="559397"/>
          </a:xfrm>
          <a:custGeom>
            <a:avLst/>
            <a:gdLst>
              <a:gd name="connsiteX0" fmla="*/ 0 w 857257"/>
              <a:gd name="connsiteY0" fmla="*/ 0 h 1816170"/>
              <a:gd name="connsiteX1" fmla="*/ 841477 w 857257"/>
              <a:gd name="connsiteY1" fmla="*/ 890550 h 1816170"/>
              <a:gd name="connsiteX2" fmla="*/ 841477 w 857257"/>
              <a:gd name="connsiteY2" fmla="*/ 925611 h 1816170"/>
              <a:gd name="connsiteX3" fmla="*/ 0 w 857257"/>
              <a:gd name="connsiteY3" fmla="*/ 1816170 h 1816170"/>
              <a:gd name="connsiteX4" fmla="*/ 0 w 857257"/>
              <a:gd name="connsiteY4" fmla="*/ 0 h 18161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57257" h="1816170">
                <a:moveTo>
                  <a:pt x="0" y="0"/>
                </a:moveTo>
                <a:cubicBezTo>
                  <a:pt x="0" y="462811"/>
                  <a:pt x="301523" y="743293"/>
                  <a:pt x="841477" y="890550"/>
                </a:cubicBezTo>
                <a:cubicBezTo>
                  <a:pt x="862517" y="897560"/>
                  <a:pt x="862517" y="918601"/>
                  <a:pt x="841477" y="925611"/>
                </a:cubicBezTo>
                <a:cubicBezTo>
                  <a:pt x="301523" y="1072868"/>
                  <a:pt x="0" y="1353360"/>
                  <a:pt x="0" y="181617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216653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 and Text with Sub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365125" y="2100262"/>
            <a:ext cx="3652838" cy="3692137"/>
          </a:xfrm>
          <a:prstGeom prst="rect">
            <a:avLst/>
          </a:prstGeom>
        </p:spPr>
        <p:txBody>
          <a:bodyPr lIns="36000" tIns="36000" rIns="36000" bIns="36000">
            <a:noAutofit/>
          </a:bodyPr>
          <a:lstStyle>
            <a:lvl1pPr marL="0" indent="0">
              <a:buNone/>
              <a:defRPr sz="2200"/>
            </a:lvl1pPr>
          </a:lstStyle>
          <a:p>
            <a:pPr lvl="0"/>
            <a:r>
              <a:rPr lang="en-GB" dirty="0"/>
              <a:t>Click to enter text content.</a:t>
            </a:r>
            <a:br>
              <a:rPr lang="en-GB" dirty="0"/>
            </a:br>
            <a:r>
              <a:rPr lang="en-US" dirty="0"/>
              <a:t>If text content appears too large please reduce the size of the font.</a:t>
            </a:r>
            <a:endParaRPr lang="en-GB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2120E7F-C0E1-48FE-9205-5741B91C8E6F}"/>
              </a:ext>
            </a:extLst>
          </p:cNvPr>
          <p:cNvSpPr>
            <a:spLocks noGrp="1"/>
          </p:cNvSpPr>
          <p:nvPr>
            <p:ph type="dt" sz="half" idx="28"/>
          </p:nvPr>
        </p:nvSpPr>
        <p:spPr/>
        <p:txBody>
          <a:bodyPr/>
          <a:lstStyle/>
          <a:p>
            <a:fld id="{2DC6169B-19DB-4994-BA6B-38503C57DC8A}" type="datetime4">
              <a:rPr lang="en-GB" smtClean="0"/>
              <a:t>22 September 2025</a:t>
            </a:fld>
            <a:endParaRPr lang="en-GB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AFC227CF-7C01-4C8F-A012-E6EC9EFFB1B0}"/>
              </a:ext>
            </a:extLst>
          </p:cNvPr>
          <p:cNvSpPr>
            <a:spLocks noGrp="1"/>
          </p:cNvSpPr>
          <p:nvPr>
            <p:ph type="ftr" sz="quarter" idx="29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3D4743C-0184-4AE6-8901-D4C4FE13116A}"/>
              </a:ext>
            </a:extLst>
          </p:cNvPr>
          <p:cNvSpPr>
            <a:spLocks noGrp="1"/>
          </p:cNvSpPr>
          <p:nvPr>
            <p:ph type="sldNum" sz="quarter" idx="30"/>
          </p:nvPr>
        </p:nvSpPr>
        <p:spPr/>
        <p:txBody>
          <a:bodyPr/>
          <a:lstStyle/>
          <a:p>
            <a:fld id="{9F9F533D-B52E-4A2F-BF72-0ADD2D94BD75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57407D7-26D4-4453-5DC7-A7011EC7E218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65126" y="5792400"/>
            <a:ext cx="3653156" cy="298800"/>
          </a:xfrm>
        </p:spPr>
        <p:txBody>
          <a:bodyPr lIns="0" tIns="0" rIns="0" bIns="0" anchor="b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800"/>
            </a:lvl1pPr>
            <a:lvl2pPr marL="357542" indent="0">
              <a:buNone/>
              <a:defRPr/>
            </a:lvl2pPr>
            <a:lvl3pPr marL="719982" indent="0">
              <a:buNone/>
              <a:defRPr/>
            </a:lvl3pPr>
            <a:lvl4pPr marL="1081424" indent="0">
              <a:buNone/>
              <a:defRPr/>
            </a:lvl4pPr>
            <a:lvl5pPr marL="1439964" indent="0">
              <a:buNone/>
              <a:defRPr/>
            </a:lvl5pPr>
          </a:lstStyle>
          <a:p>
            <a:pPr lvl="0"/>
            <a:r>
              <a:rPr lang="en-US" dirty="0"/>
              <a:t>Insert Source text</a:t>
            </a:r>
          </a:p>
        </p:txBody>
      </p:sp>
      <p:sp>
        <p:nvSpPr>
          <p:cNvPr id="25" name="Text Placeholder 24">
            <a:extLst>
              <a:ext uri="{FF2B5EF4-FFF2-40B4-BE49-F238E27FC236}">
                <a16:creationId xmlns:a16="http://schemas.microsoft.com/office/drawing/2014/main" id="{0FC42DF1-9B7E-9A5C-E40E-35292FD97B55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365126" y="1303338"/>
            <a:ext cx="3480970" cy="796925"/>
          </a:xfrm>
        </p:spPr>
        <p:txBody>
          <a:bodyPr lIns="36000" tIns="36000" rIns="36000" bIns="36000">
            <a:noAutofit/>
          </a:bodyPr>
          <a:lstStyle>
            <a:lvl1pPr marL="0" indent="0">
              <a:buNone/>
              <a:defRPr sz="2400" b="1">
                <a:solidFill>
                  <a:schemeClr val="tx2"/>
                </a:solidFill>
              </a:defRPr>
            </a:lvl1pPr>
            <a:lvl2pPr marL="357542" indent="0">
              <a:buNone/>
              <a:defRPr/>
            </a:lvl2pPr>
            <a:lvl3pPr marL="719982" indent="0">
              <a:buNone/>
              <a:defRPr/>
            </a:lvl3pPr>
            <a:lvl4pPr marL="1081424" indent="0">
              <a:buNone/>
              <a:defRPr/>
            </a:lvl4pPr>
            <a:lvl5pPr marL="1439964" indent="0">
              <a:buNone/>
              <a:defRPr/>
            </a:lvl5pPr>
          </a:lstStyle>
          <a:p>
            <a:pPr lvl="0"/>
            <a:r>
              <a:rPr lang="en-US" dirty="0"/>
              <a:t>Click to edit subheading text</a:t>
            </a:r>
            <a:endParaRPr lang="en-GB" dirty="0"/>
          </a:p>
        </p:txBody>
      </p:sp>
      <p:sp>
        <p:nvSpPr>
          <p:cNvPr id="19" name="Picture Placeholder 18">
            <a:extLst>
              <a:ext uri="{FF2B5EF4-FFF2-40B4-BE49-F238E27FC236}">
                <a16:creationId xmlns:a16="http://schemas.microsoft.com/office/drawing/2014/main" id="{842A83F9-173D-2F5C-840B-653949B4C528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3848179" y="1303337"/>
            <a:ext cx="7977108" cy="4787900"/>
          </a:xfrm>
          <a:custGeom>
            <a:avLst/>
            <a:gdLst>
              <a:gd name="connsiteX0" fmla="*/ 594703 w 7977108"/>
              <a:gd name="connsiteY0" fmla="*/ 0 h 4787900"/>
              <a:gd name="connsiteX1" fmla="*/ 7804600 w 7977108"/>
              <a:gd name="connsiteY1" fmla="*/ 0 h 4787900"/>
              <a:gd name="connsiteX2" fmla="*/ 7977108 w 7977108"/>
              <a:gd name="connsiteY2" fmla="*/ 172508 h 4787900"/>
              <a:gd name="connsiteX3" fmla="*/ 7977108 w 7977108"/>
              <a:gd name="connsiteY3" fmla="*/ 4615392 h 4787900"/>
              <a:gd name="connsiteX4" fmla="*/ 7804600 w 7977108"/>
              <a:gd name="connsiteY4" fmla="*/ 4787900 h 4787900"/>
              <a:gd name="connsiteX5" fmla="*/ 594703 w 7977108"/>
              <a:gd name="connsiteY5" fmla="*/ 4787900 h 4787900"/>
              <a:gd name="connsiteX6" fmla="*/ 422195 w 7977108"/>
              <a:gd name="connsiteY6" fmla="*/ 4615392 h 4787900"/>
              <a:gd name="connsiteX7" fmla="*/ 422195 w 7977108"/>
              <a:gd name="connsiteY7" fmla="*/ 1002316 h 4787900"/>
              <a:gd name="connsiteX8" fmla="*/ 419981 w 7977108"/>
              <a:gd name="connsiteY8" fmla="*/ 976226 h 4787900"/>
              <a:gd name="connsiteX9" fmla="*/ 7859 w 7977108"/>
              <a:gd name="connsiteY9" fmla="*/ 614915 h 4787900"/>
              <a:gd name="connsiteX10" fmla="*/ 7859 w 7977108"/>
              <a:gd name="connsiteY10" fmla="*/ 597453 h 4787900"/>
              <a:gd name="connsiteX11" fmla="*/ 419981 w 7977108"/>
              <a:gd name="connsiteY11" fmla="*/ 236137 h 4787900"/>
              <a:gd name="connsiteX12" fmla="*/ 422195 w 7977108"/>
              <a:gd name="connsiteY12" fmla="*/ 210041 h 4787900"/>
              <a:gd name="connsiteX13" fmla="*/ 422195 w 7977108"/>
              <a:gd name="connsiteY13" fmla="*/ 172508 h 4787900"/>
              <a:gd name="connsiteX14" fmla="*/ 594703 w 7977108"/>
              <a:gd name="connsiteY14" fmla="*/ 0 h 47879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7977108" h="4787900">
                <a:moveTo>
                  <a:pt x="594703" y="0"/>
                </a:moveTo>
                <a:lnTo>
                  <a:pt x="7804600" y="0"/>
                </a:lnTo>
                <a:cubicBezTo>
                  <a:pt x="7899874" y="0"/>
                  <a:pt x="7977108" y="77234"/>
                  <a:pt x="7977108" y="172508"/>
                </a:cubicBezTo>
                <a:lnTo>
                  <a:pt x="7977108" y="4615392"/>
                </a:lnTo>
                <a:cubicBezTo>
                  <a:pt x="7977108" y="4710666"/>
                  <a:pt x="7899874" y="4787900"/>
                  <a:pt x="7804600" y="4787900"/>
                </a:cubicBezTo>
                <a:lnTo>
                  <a:pt x="594703" y="4787900"/>
                </a:lnTo>
                <a:cubicBezTo>
                  <a:pt x="499429" y="4787900"/>
                  <a:pt x="422195" y="4710666"/>
                  <a:pt x="422195" y="4615392"/>
                </a:cubicBezTo>
                <a:lnTo>
                  <a:pt x="422195" y="1002316"/>
                </a:lnTo>
                <a:lnTo>
                  <a:pt x="419981" y="976226"/>
                </a:lnTo>
                <a:cubicBezTo>
                  <a:pt x="387560" y="794064"/>
                  <a:pt x="243169" y="679089"/>
                  <a:pt x="7859" y="614915"/>
                </a:cubicBezTo>
                <a:cubicBezTo>
                  <a:pt x="-2620" y="611423"/>
                  <a:pt x="-2620" y="600944"/>
                  <a:pt x="7859" y="597453"/>
                </a:cubicBezTo>
                <a:cubicBezTo>
                  <a:pt x="243169" y="533278"/>
                  <a:pt x="387560" y="418299"/>
                  <a:pt x="419981" y="236137"/>
                </a:cubicBezTo>
                <a:lnTo>
                  <a:pt x="422195" y="210041"/>
                </a:lnTo>
                <a:lnTo>
                  <a:pt x="422195" y="172508"/>
                </a:lnTo>
                <a:cubicBezTo>
                  <a:pt x="422195" y="77234"/>
                  <a:pt x="499429" y="0"/>
                  <a:pt x="594703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lIns="900000" tIns="216000" rIns="540000" bIns="72000" anchor="ctr">
            <a:noAutofit/>
          </a:bodyPr>
          <a:lstStyle>
            <a:lvl1pPr marL="0" indent="0" algn="ctr">
              <a:lnSpc>
                <a:spcPct val="100000"/>
              </a:lnSpc>
              <a:buNone/>
              <a:defRPr sz="2200" i="0" baseline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[Click here to insert image]</a:t>
            </a:r>
            <a:br>
              <a:rPr lang="en-GB" dirty="0"/>
            </a:br>
            <a:br>
              <a:rPr lang="en-GB" dirty="0"/>
            </a:br>
            <a:br>
              <a:rPr lang="en-GB" dirty="0"/>
            </a:br>
            <a:br>
              <a:rPr lang="en-GB" dirty="0"/>
            </a:br>
            <a:br>
              <a:rPr lang="en-GB" dirty="0"/>
            </a:br>
            <a:br>
              <a:rPr lang="en-GB" dirty="0"/>
            </a:br>
            <a:r>
              <a:rPr lang="en-GB" dirty="0"/>
              <a:t>[</a:t>
            </a:r>
            <a:r>
              <a:rPr lang="en-US" dirty="0"/>
              <a:t>The image can then be scaled within the frame by using the ‘Crop’ feature in the ‘Picture Format’ tab of the ribbon. Right click on image to add/edit alt text</a:t>
            </a:r>
            <a:r>
              <a:rPr lang="en-GB" dirty="0"/>
              <a:t>]</a:t>
            </a: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7E92BEDA-CC1A-B239-4AEA-C3F37E21462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5125" y="242888"/>
            <a:ext cx="11460163" cy="43088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0750812B-2C47-57D4-77B8-4674E64952E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5125" y="694950"/>
            <a:ext cx="11460164" cy="352800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2400" i="0">
                <a:solidFill>
                  <a:schemeClr val="tx1"/>
                </a:solidFill>
                <a:latin typeface="+mn-lt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/>
              <a:t>Click to enter slide subtitle</a:t>
            </a:r>
          </a:p>
        </p:txBody>
      </p:sp>
      <p:sp>
        <p:nvSpPr>
          <p:cNvPr id="15" name="Freeform: Shape 14">
            <a:extLst>
              <a:ext uri="{FF2B5EF4-FFF2-40B4-BE49-F238E27FC236}">
                <a16:creationId xmlns:a16="http://schemas.microsoft.com/office/drawing/2014/main" id="{7DE5D052-D1E8-918C-87BF-6E3142B87FEF}"/>
              </a:ext>
            </a:extLst>
          </p:cNvPr>
          <p:cNvSpPr/>
          <p:nvPr/>
        </p:nvSpPr>
        <p:spPr>
          <a:xfrm>
            <a:off x="0" y="184645"/>
            <a:ext cx="264043" cy="559397"/>
          </a:xfrm>
          <a:custGeom>
            <a:avLst/>
            <a:gdLst>
              <a:gd name="connsiteX0" fmla="*/ 0 w 857257"/>
              <a:gd name="connsiteY0" fmla="*/ 0 h 1816170"/>
              <a:gd name="connsiteX1" fmla="*/ 841477 w 857257"/>
              <a:gd name="connsiteY1" fmla="*/ 890550 h 1816170"/>
              <a:gd name="connsiteX2" fmla="*/ 841477 w 857257"/>
              <a:gd name="connsiteY2" fmla="*/ 925611 h 1816170"/>
              <a:gd name="connsiteX3" fmla="*/ 0 w 857257"/>
              <a:gd name="connsiteY3" fmla="*/ 1816170 h 1816170"/>
              <a:gd name="connsiteX4" fmla="*/ 0 w 857257"/>
              <a:gd name="connsiteY4" fmla="*/ 0 h 18161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57257" h="1816170">
                <a:moveTo>
                  <a:pt x="0" y="0"/>
                </a:moveTo>
                <a:cubicBezTo>
                  <a:pt x="0" y="462811"/>
                  <a:pt x="301523" y="743293"/>
                  <a:pt x="841477" y="890550"/>
                </a:cubicBezTo>
                <a:cubicBezTo>
                  <a:pt x="862517" y="897560"/>
                  <a:pt x="862517" y="918601"/>
                  <a:pt x="841477" y="925611"/>
                </a:cubicBezTo>
                <a:cubicBezTo>
                  <a:pt x="301523" y="1072868"/>
                  <a:pt x="0" y="1353360"/>
                  <a:pt x="0" y="181617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dirty="0"/>
          </a:p>
        </p:txBody>
      </p:sp>
      <p:sp>
        <p:nvSpPr>
          <p:cNvPr id="2" name="Freeform: Shape 1">
            <a:extLst>
              <a:ext uri="{FF2B5EF4-FFF2-40B4-BE49-F238E27FC236}">
                <a16:creationId xmlns:a16="http://schemas.microsoft.com/office/drawing/2014/main" id="{D5840FC4-EF91-6057-D142-8946C40663E0}"/>
              </a:ext>
            </a:extLst>
          </p:cNvPr>
          <p:cNvSpPr/>
          <p:nvPr userDrawn="1"/>
        </p:nvSpPr>
        <p:spPr>
          <a:xfrm>
            <a:off x="0" y="184645"/>
            <a:ext cx="264043" cy="559397"/>
          </a:xfrm>
          <a:custGeom>
            <a:avLst/>
            <a:gdLst>
              <a:gd name="connsiteX0" fmla="*/ 0 w 857257"/>
              <a:gd name="connsiteY0" fmla="*/ 0 h 1816170"/>
              <a:gd name="connsiteX1" fmla="*/ 841477 w 857257"/>
              <a:gd name="connsiteY1" fmla="*/ 890550 h 1816170"/>
              <a:gd name="connsiteX2" fmla="*/ 841477 w 857257"/>
              <a:gd name="connsiteY2" fmla="*/ 925611 h 1816170"/>
              <a:gd name="connsiteX3" fmla="*/ 0 w 857257"/>
              <a:gd name="connsiteY3" fmla="*/ 1816170 h 1816170"/>
              <a:gd name="connsiteX4" fmla="*/ 0 w 857257"/>
              <a:gd name="connsiteY4" fmla="*/ 0 h 18161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57257" h="1816170">
                <a:moveTo>
                  <a:pt x="0" y="0"/>
                </a:moveTo>
                <a:cubicBezTo>
                  <a:pt x="0" y="462811"/>
                  <a:pt x="301523" y="743293"/>
                  <a:pt x="841477" y="890550"/>
                </a:cubicBezTo>
                <a:cubicBezTo>
                  <a:pt x="862517" y="897560"/>
                  <a:pt x="862517" y="918601"/>
                  <a:pt x="841477" y="925611"/>
                </a:cubicBezTo>
                <a:cubicBezTo>
                  <a:pt x="301523" y="1072868"/>
                  <a:pt x="0" y="1353360"/>
                  <a:pt x="0" y="181617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99105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F30D3666-6EB4-2815-6D2E-EFE946A218A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244321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4" progId="TCLayout.ActiveDocument.1">
                  <p:embed/>
                </p:oleObj>
              </mc:Choice>
              <mc:Fallback>
                <p:oleObj name="think-cell Slide" r:id="rId4" imgW="425" imgH="42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F30D3666-6EB4-2815-6D2E-EFE946A218A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 descr="Icon&#10;&#10;Description automatically generated with medium confidence">
            <a:extLst>
              <a:ext uri="{FF2B5EF4-FFF2-40B4-BE49-F238E27FC236}">
                <a16:creationId xmlns:a16="http://schemas.microsoft.com/office/drawing/2014/main" id="{CD0C9FF5-5269-0182-FD37-55478A13B6D1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65064" y="0"/>
            <a:ext cx="1499542" cy="1500405"/>
          </a:xfrm>
          <a:prstGeom prst="rect">
            <a:avLst/>
          </a:prstGeom>
        </p:spPr>
      </p:pic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8D015E68-9B94-B2B9-2F33-1D9732CC14B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01650" y="230188"/>
            <a:ext cx="1817688" cy="163512"/>
          </a:xfrm>
        </p:spPr>
        <p:txBody>
          <a:bodyPr lIns="0" tIns="72000" rIns="0" bIns="72000" anchor="ctr">
            <a:noAutofit/>
          </a:bodyPr>
          <a:lstStyle>
            <a:lvl1pPr marL="0" indent="0">
              <a:buNone/>
              <a:defRPr sz="1000" b="1">
                <a:solidFill>
                  <a:schemeClr val="tx2"/>
                </a:solidFill>
              </a:defRPr>
            </a:lvl1pPr>
            <a:lvl2pPr marL="357542" indent="0">
              <a:buNone/>
              <a:defRPr>
                <a:solidFill>
                  <a:schemeClr val="bg1"/>
                </a:solidFill>
              </a:defRPr>
            </a:lvl2pPr>
            <a:lvl3pPr marL="719982" indent="0">
              <a:buNone/>
              <a:defRPr>
                <a:solidFill>
                  <a:schemeClr val="bg1"/>
                </a:solidFill>
              </a:defRPr>
            </a:lvl3pPr>
            <a:lvl4pPr marL="1081424" indent="0">
              <a:buNone/>
              <a:defRPr>
                <a:solidFill>
                  <a:schemeClr val="bg1"/>
                </a:solidFill>
              </a:defRPr>
            </a:lvl4pPr>
            <a:lvl5pPr marL="1439964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insert date</a:t>
            </a:r>
          </a:p>
        </p:txBody>
      </p:sp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458F29C9-8F7E-1D4B-3005-616565FA7753}"/>
              </a:ext>
            </a:extLst>
          </p:cNvPr>
          <p:cNvSpPr/>
          <p:nvPr/>
        </p:nvSpPr>
        <p:spPr>
          <a:xfrm>
            <a:off x="0" y="4842854"/>
            <a:ext cx="426190" cy="902918"/>
          </a:xfrm>
          <a:custGeom>
            <a:avLst/>
            <a:gdLst>
              <a:gd name="connsiteX0" fmla="*/ 0 w 857257"/>
              <a:gd name="connsiteY0" fmla="*/ 0 h 1816170"/>
              <a:gd name="connsiteX1" fmla="*/ 841477 w 857257"/>
              <a:gd name="connsiteY1" fmla="*/ 890550 h 1816170"/>
              <a:gd name="connsiteX2" fmla="*/ 841477 w 857257"/>
              <a:gd name="connsiteY2" fmla="*/ 925611 h 1816170"/>
              <a:gd name="connsiteX3" fmla="*/ 0 w 857257"/>
              <a:gd name="connsiteY3" fmla="*/ 1816170 h 1816170"/>
              <a:gd name="connsiteX4" fmla="*/ 0 w 857257"/>
              <a:gd name="connsiteY4" fmla="*/ 0 h 18161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57257" h="1816170">
                <a:moveTo>
                  <a:pt x="0" y="0"/>
                </a:moveTo>
                <a:cubicBezTo>
                  <a:pt x="0" y="462811"/>
                  <a:pt x="301523" y="743293"/>
                  <a:pt x="841477" y="890550"/>
                </a:cubicBezTo>
                <a:cubicBezTo>
                  <a:pt x="862517" y="897560"/>
                  <a:pt x="862517" y="918601"/>
                  <a:pt x="841477" y="925611"/>
                </a:cubicBezTo>
                <a:cubicBezTo>
                  <a:pt x="301523" y="1072868"/>
                  <a:pt x="0" y="1353360"/>
                  <a:pt x="0" y="181617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dirty="0"/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4DF7007A-5965-5814-8FF8-29077566CBE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20700" y="5010784"/>
            <a:ext cx="11150600" cy="548009"/>
          </a:xfrm>
          <a:prstGeom prst="rect">
            <a:avLst/>
          </a:prstGeom>
        </p:spPr>
        <p:txBody>
          <a:bodyPr vert="horz" anchor="b" anchorCtr="0">
            <a:noAutofit/>
          </a:bodyPr>
          <a:lstStyle>
            <a:lvl1pPr>
              <a:lnSpc>
                <a:spcPct val="100000"/>
              </a:lnSpc>
              <a:defRPr sz="3600">
                <a:solidFill>
                  <a:schemeClr val="tx2"/>
                </a:solidFill>
              </a:defRPr>
            </a:lvl1pPr>
          </a:lstStyle>
          <a:p>
            <a:r>
              <a:rPr lang="en-GB" dirty="0"/>
              <a:t>Click to enter presentation tit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F6A64F09-F5D8-B6EE-7ED5-2B69A4668CD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20700" y="5558794"/>
            <a:ext cx="11150600" cy="475200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2400" i="0">
                <a:solidFill>
                  <a:schemeClr val="tx1"/>
                </a:solidFill>
                <a:latin typeface="+mn-lt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/>
              <a:t>Click to enter subtitle / presenter nam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1811AA76-84DB-E6D7-7F67-E7CF37FEEDBC}"/>
              </a:ext>
            </a:extLst>
          </p:cNvPr>
          <p:cNvSpPr/>
          <p:nvPr/>
        </p:nvSpPr>
        <p:spPr bwMode="auto">
          <a:xfrm>
            <a:off x="11039475" y="6058694"/>
            <a:ext cx="862012" cy="317500"/>
          </a:xfrm>
          <a:prstGeom prst="rect">
            <a:avLst/>
          </a:prstGeom>
          <a:noFill/>
          <a:ln>
            <a:noFill/>
            <a:headEnd/>
            <a:tailEnd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r" eaLnBrk="0" fontAlgn="auto" hangingPunct="0"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Font typeface="Arial" pitchFamily="34" charset="0"/>
              <a:buNone/>
            </a:pPr>
            <a:r>
              <a:rPr lang="en-GB" sz="1000" b="1" kern="0" dirty="0">
                <a:solidFill>
                  <a:schemeClr val="tx2"/>
                </a:solidFill>
                <a:latin typeface="+mn-lt"/>
              </a:rPr>
              <a:t>gsk.com</a:t>
            </a:r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F8155D66-36CA-D9A7-7EDA-E532E62376F3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1094470" y="6137672"/>
            <a:ext cx="159543" cy="159543"/>
          </a:xfrm>
          <a:prstGeom prst="rect">
            <a:avLst/>
          </a:prstGeom>
        </p:spPr>
      </p:pic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D55F83A6-67EC-BF30-F3AD-7891EB5F2F4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244321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4" progId="TCLayout.ActiveDocument.1">
                  <p:embed/>
                </p:oleObj>
              </mc:Choice>
              <mc:Fallback>
                <p:oleObj name="think-cell Slide" r:id="rId4" imgW="425" imgH="42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D55F83A6-67EC-BF30-F3AD-7891EB5F2F4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2" descr="Icon&#10;&#10;Description automatically generated with medium confidence">
            <a:extLst>
              <a:ext uri="{FF2B5EF4-FFF2-40B4-BE49-F238E27FC236}">
                <a16:creationId xmlns:a16="http://schemas.microsoft.com/office/drawing/2014/main" id="{357E4C88-FB78-C0EB-6CA2-6DB87B647316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65064" y="0"/>
            <a:ext cx="1499542" cy="1500405"/>
          </a:xfrm>
          <a:prstGeom prst="rect">
            <a:avLst/>
          </a:prstGeom>
        </p:spPr>
      </p:pic>
      <p:sp>
        <p:nvSpPr>
          <p:cNvPr id="4" name="Freeform: Shape 3">
            <a:extLst>
              <a:ext uri="{FF2B5EF4-FFF2-40B4-BE49-F238E27FC236}">
                <a16:creationId xmlns:a16="http://schemas.microsoft.com/office/drawing/2014/main" id="{40E51AA2-DEA8-2D1B-54F8-4EE8EBF4ABFD}"/>
              </a:ext>
            </a:extLst>
          </p:cNvPr>
          <p:cNvSpPr/>
          <p:nvPr userDrawn="1"/>
        </p:nvSpPr>
        <p:spPr>
          <a:xfrm>
            <a:off x="0" y="4842854"/>
            <a:ext cx="426190" cy="902918"/>
          </a:xfrm>
          <a:custGeom>
            <a:avLst/>
            <a:gdLst>
              <a:gd name="connsiteX0" fmla="*/ 0 w 857257"/>
              <a:gd name="connsiteY0" fmla="*/ 0 h 1816170"/>
              <a:gd name="connsiteX1" fmla="*/ 841477 w 857257"/>
              <a:gd name="connsiteY1" fmla="*/ 890550 h 1816170"/>
              <a:gd name="connsiteX2" fmla="*/ 841477 w 857257"/>
              <a:gd name="connsiteY2" fmla="*/ 925611 h 1816170"/>
              <a:gd name="connsiteX3" fmla="*/ 0 w 857257"/>
              <a:gd name="connsiteY3" fmla="*/ 1816170 h 1816170"/>
              <a:gd name="connsiteX4" fmla="*/ 0 w 857257"/>
              <a:gd name="connsiteY4" fmla="*/ 0 h 18161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57257" h="1816170">
                <a:moveTo>
                  <a:pt x="0" y="0"/>
                </a:moveTo>
                <a:cubicBezTo>
                  <a:pt x="0" y="462811"/>
                  <a:pt x="301523" y="743293"/>
                  <a:pt x="841477" y="890550"/>
                </a:cubicBezTo>
                <a:cubicBezTo>
                  <a:pt x="862517" y="897560"/>
                  <a:pt x="862517" y="918601"/>
                  <a:pt x="841477" y="925611"/>
                </a:cubicBezTo>
                <a:cubicBezTo>
                  <a:pt x="301523" y="1072868"/>
                  <a:pt x="0" y="1353360"/>
                  <a:pt x="0" y="181617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28D691E-620B-C251-3069-82DAB53E7FE8}"/>
              </a:ext>
            </a:extLst>
          </p:cNvPr>
          <p:cNvSpPr/>
          <p:nvPr userDrawn="1"/>
        </p:nvSpPr>
        <p:spPr bwMode="auto">
          <a:xfrm>
            <a:off x="11039475" y="6058694"/>
            <a:ext cx="862012" cy="317500"/>
          </a:xfrm>
          <a:prstGeom prst="rect">
            <a:avLst/>
          </a:prstGeom>
          <a:noFill/>
          <a:ln>
            <a:noFill/>
            <a:headEnd/>
            <a:tailEnd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r" eaLnBrk="0" fontAlgn="auto" hangingPunct="0"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Font typeface="Arial" pitchFamily="34" charset="0"/>
              <a:buNone/>
            </a:pPr>
            <a:r>
              <a:rPr lang="en-GB" sz="1000" b="1" kern="0" dirty="0">
                <a:solidFill>
                  <a:schemeClr val="tx2"/>
                </a:solidFill>
                <a:latin typeface="+mn-lt"/>
              </a:rPr>
              <a:t>gsk.com</a:t>
            </a:r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A920F982-80BA-58FA-0389-6CA3EEEAB06E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1094470" y="6137672"/>
            <a:ext cx="159543" cy="1595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296749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Image a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365126" y="1303338"/>
            <a:ext cx="5602288" cy="4785927"/>
          </a:xfrm>
          <a:prstGeom prst="rect">
            <a:avLst/>
          </a:prstGeom>
        </p:spPr>
        <p:txBody>
          <a:bodyPr lIns="36000" tIns="36000" rIns="36000" bIns="36000">
            <a:noAutofit/>
          </a:bodyPr>
          <a:lstStyle>
            <a:lvl1pPr marL="0" indent="0">
              <a:buClr>
                <a:schemeClr val="tx2"/>
              </a:buClr>
              <a:buFont typeface="Arial" panose="020B0604020202020204" pitchFamily="34" charset="0"/>
              <a:buNone/>
              <a:defRPr/>
            </a:lvl1pPr>
            <a:lvl2pPr marL="357542" indent="0">
              <a:buClr>
                <a:schemeClr val="tx1"/>
              </a:buClr>
              <a:buFont typeface="Arial" panose="020B0604020202020204" pitchFamily="34" charset="0"/>
              <a:buNone/>
              <a:defRPr/>
            </a:lvl2pPr>
            <a:lvl3pPr marL="719982" indent="0">
              <a:buClr>
                <a:schemeClr val="tx1"/>
              </a:buClr>
              <a:buFont typeface="Arial" panose="020B0604020202020204" pitchFamily="34" charset="0"/>
              <a:buNone/>
              <a:defRPr/>
            </a:lvl3pPr>
            <a:lvl4pPr marL="1081424" indent="0">
              <a:buClr>
                <a:schemeClr val="tx1"/>
              </a:buClr>
              <a:buFont typeface="Arial" panose="020B0604020202020204" pitchFamily="34" charset="0"/>
              <a:buNone/>
              <a:defRPr/>
            </a:lvl4pPr>
            <a:lvl5pPr marL="1439964" indent="0">
              <a:buClr>
                <a:schemeClr val="tx1"/>
              </a:buClr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dirty="0"/>
              <a:t>Click to enter text content. </a:t>
            </a:r>
            <a:r>
              <a:rPr lang="en-US" dirty="0"/>
              <a:t>If text content appears too large please reduce the size of the font.</a:t>
            </a:r>
            <a:endParaRPr lang="en-GB" dirty="0"/>
          </a:p>
        </p:txBody>
      </p:sp>
      <p:sp>
        <p:nvSpPr>
          <p:cNvPr id="20" name="Picture Placeholder 8"/>
          <p:cNvSpPr>
            <a:spLocks noGrp="1"/>
          </p:cNvSpPr>
          <p:nvPr>
            <p:ph type="pic" sz="quarter" idx="14" hasCustomPrompt="1"/>
          </p:nvPr>
        </p:nvSpPr>
        <p:spPr>
          <a:xfrm>
            <a:off x="6223001" y="1303338"/>
            <a:ext cx="5602288" cy="2049077"/>
          </a:xfrm>
          <a:prstGeom prst="roundRect">
            <a:avLst>
              <a:gd name="adj" fmla="val 8542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lIns="0" tIns="180000" rIns="0" bIns="72000" anchor="ctr">
            <a:noAutofit/>
          </a:bodyPr>
          <a:lstStyle>
            <a:lvl1pPr marL="0" indent="0" algn="ctr">
              <a:buNone/>
              <a:defRPr sz="1600" i="0" baseline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[Click here to insert image]</a:t>
            </a:r>
            <a:br>
              <a:rPr lang="en-GB" dirty="0"/>
            </a:br>
            <a:br>
              <a:rPr lang="en-GB" dirty="0"/>
            </a:br>
            <a:br>
              <a:rPr lang="en-GB" dirty="0"/>
            </a:br>
            <a:r>
              <a:rPr lang="en-GB" dirty="0"/>
              <a:t>[</a:t>
            </a:r>
            <a:r>
              <a:rPr lang="en-US" dirty="0"/>
              <a:t>The image can then be scaled within the frame by </a:t>
            </a:r>
            <a:br>
              <a:rPr lang="en-US" dirty="0"/>
            </a:br>
            <a:r>
              <a:rPr lang="en-US" dirty="0"/>
              <a:t>using the ‘Crop’ feature in the ‘Picture Format’ tab </a:t>
            </a:r>
            <a:br>
              <a:rPr lang="en-US" dirty="0"/>
            </a:br>
            <a:r>
              <a:rPr lang="en-US" dirty="0"/>
              <a:t>of the ribbon. Right click on image to add/edit alt text]</a:t>
            </a:r>
            <a:endParaRPr lang="en-GB" dirty="0"/>
          </a:p>
        </p:txBody>
      </p:sp>
      <p:sp>
        <p:nvSpPr>
          <p:cNvPr id="21" name="Text Placeholder 7"/>
          <p:cNvSpPr>
            <a:spLocks noGrp="1"/>
          </p:cNvSpPr>
          <p:nvPr>
            <p:ph type="body" sz="quarter" idx="26" hasCustomPrompt="1"/>
          </p:nvPr>
        </p:nvSpPr>
        <p:spPr>
          <a:xfrm>
            <a:off x="6223001" y="3383480"/>
            <a:ext cx="5602287" cy="2988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800">
                <a:solidFill>
                  <a:schemeClr val="tx1"/>
                </a:solidFill>
              </a:defRPr>
            </a:lvl1pPr>
            <a:lvl2pPr marL="357542" indent="0">
              <a:buNone/>
              <a:defRPr sz="1067">
                <a:solidFill>
                  <a:schemeClr val="bg2"/>
                </a:solidFill>
              </a:defRPr>
            </a:lvl2pPr>
            <a:lvl3pPr marL="719982" indent="0">
              <a:buNone/>
              <a:defRPr sz="1067">
                <a:solidFill>
                  <a:schemeClr val="bg2"/>
                </a:solidFill>
              </a:defRPr>
            </a:lvl3pPr>
            <a:lvl4pPr marL="1081424" indent="0">
              <a:buNone/>
              <a:defRPr sz="1067">
                <a:solidFill>
                  <a:schemeClr val="bg2"/>
                </a:solidFill>
              </a:defRPr>
            </a:lvl4pPr>
            <a:lvl5pPr marL="1439964" indent="0">
              <a:buNone/>
              <a:defRPr sz="1067"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Insert Source text</a:t>
            </a:r>
          </a:p>
        </p:txBody>
      </p:sp>
      <p:sp>
        <p:nvSpPr>
          <p:cNvPr id="35" name="Picture Placeholder 8"/>
          <p:cNvSpPr>
            <a:spLocks noGrp="1" noChangeAspect="1"/>
          </p:cNvSpPr>
          <p:nvPr>
            <p:ph type="pic" sz="quarter" idx="27" hasCustomPrompt="1"/>
          </p:nvPr>
        </p:nvSpPr>
        <p:spPr>
          <a:xfrm>
            <a:off x="6223001" y="3713345"/>
            <a:ext cx="5602288" cy="2048029"/>
          </a:xfrm>
          <a:prstGeom prst="roundRect">
            <a:avLst>
              <a:gd name="adj" fmla="val 8498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lIns="0" tIns="180000" rIns="0" bIns="72000" anchor="ctr">
            <a:noAutofit/>
          </a:bodyPr>
          <a:lstStyle>
            <a:lvl1pPr marL="0" indent="0" algn="ctr">
              <a:buNone/>
              <a:defRPr sz="1600" i="0" baseline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[Click here to insert image]</a:t>
            </a:r>
            <a:br>
              <a:rPr lang="en-GB" dirty="0"/>
            </a:br>
            <a:br>
              <a:rPr lang="en-GB" dirty="0"/>
            </a:br>
            <a:br>
              <a:rPr lang="en-GB" dirty="0"/>
            </a:br>
            <a:r>
              <a:rPr lang="en-GB" dirty="0"/>
              <a:t>[</a:t>
            </a:r>
            <a:r>
              <a:rPr lang="en-US" dirty="0"/>
              <a:t>The image can then be scaled within the frame by </a:t>
            </a:r>
            <a:br>
              <a:rPr lang="en-US" dirty="0"/>
            </a:br>
            <a:r>
              <a:rPr lang="en-US" dirty="0"/>
              <a:t>using the ‘Crop’ feature in the ‘Picture Format’ tab </a:t>
            </a:r>
            <a:br>
              <a:rPr lang="en-US" dirty="0"/>
            </a:br>
            <a:r>
              <a:rPr lang="en-US" dirty="0"/>
              <a:t>of the ribbon. Right click on image to add/edit alt text]</a:t>
            </a:r>
            <a:endParaRPr lang="en-GB" dirty="0"/>
          </a:p>
        </p:txBody>
      </p:sp>
      <p:sp>
        <p:nvSpPr>
          <p:cNvPr id="36" name="Text Placeholder 7"/>
          <p:cNvSpPr>
            <a:spLocks noGrp="1"/>
          </p:cNvSpPr>
          <p:nvPr>
            <p:ph type="body" sz="quarter" idx="28" hasCustomPrompt="1"/>
          </p:nvPr>
        </p:nvSpPr>
        <p:spPr>
          <a:xfrm>
            <a:off x="6223001" y="5792438"/>
            <a:ext cx="5602287" cy="2988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800">
                <a:solidFill>
                  <a:schemeClr val="tx1"/>
                </a:solidFill>
              </a:defRPr>
            </a:lvl1pPr>
            <a:lvl2pPr marL="357542" indent="0">
              <a:buNone/>
              <a:defRPr sz="1067">
                <a:solidFill>
                  <a:schemeClr val="bg2"/>
                </a:solidFill>
              </a:defRPr>
            </a:lvl2pPr>
            <a:lvl3pPr marL="719982" indent="0">
              <a:buNone/>
              <a:defRPr sz="1067">
                <a:solidFill>
                  <a:schemeClr val="bg2"/>
                </a:solidFill>
              </a:defRPr>
            </a:lvl3pPr>
            <a:lvl4pPr marL="1081424" indent="0">
              <a:buNone/>
              <a:defRPr sz="1067">
                <a:solidFill>
                  <a:schemeClr val="bg2"/>
                </a:solidFill>
              </a:defRPr>
            </a:lvl4pPr>
            <a:lvl5pPr marL="1439964" indent="0">
              <a:buNone/>
              <a:defRPr sz="1067"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Insert Source text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A6A279A2-5C44-FF2E-B384-6E6E2D4B39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5125" y="242888"/>
            <a:ext cx="11460163" cy="43088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AA0BC10E-676C-5CAF-16CC-96A54F223F7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5125" y="694950"/>
            <a:ext cx="11460164" cy="352800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2400" i="0">
                <a:solidFill>
                  <a:schemeClr val="tx1"/>
                </a:solidFill>
                <a:latin typeface="+mn-lt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/>
              <a:t>Click to enter slide subtitle</a:t>
            </a:r>
          </a:p>
        </p:txBody>
      </p:sp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3C5935EB-46DA-41B4-C62C-331192886E84}"/>
              </a:ext>
            </a:extLst>
          </p:cNvPr>
          <p:cNvSpPr/>
          <p:nvPr/>
        </p:nvSpPr>
        <p:spPr>
          <a:xfrm>
            <a:off x="0" y="184645"/>
            <a:ext cx="264043" cy="559397"/>
          </a:xfrm>
          <a:custGeom>
            <a:avLst/>
            <a:gdLst>
              <a:gd name="connsiteX0" fmla="*/ 0 w 857257"/>
              <a:gd name="connsiteY0" fmla="*/ 0 h 1816170"/>
              <a:gd name="connsiteX1" fmla="*/ 841477 w 857257"/>
              <a:gd name="connsiteY1" fmla="*/ 890550 h 1816170"/>
              <a:gd name="connsiteX2" fmla="*/ 841477 w 857257"/>
              <a:gd name="connsiteY2" fmla="*/ 925611 h 1816170"/>
              <a:gd name="connsiteX3" fmla="*/ 0 w 857257"/>
              <a:gd name="connsiteY3" fmla="*/ 1816170 h 1816170"/>
              <a:gd name="connsiteX4" fmla="*/ 0 w 857257"/>
              <a:gd name="connsiteY4" fmla="*/ 0 h 18161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57257" h="1816170">
                <a:moveTo>
                  <a:pt x="0" y="0"/>
                </a:moveTo>
                <a:cubicBezTo>
                  <a:pt x="0" y="462811"/>
                  <a:pt x="301523" y="743293"/>
                  <a:pt x="841477" y="890550"/>
                </a:cubicBezTo>
                <a:cubicBezTo>
                  <a:pt x="862517" y="897560"/>
                  <a:pt x="862517" y="918601"/>
                  <a:pt x="841477" y="925611"/>
                </a:cubicBezTo>
                <a:cubicBezTo>
                  <a:pt x="301523" y="1072868"/>
                  <a:pt x="0" y="1353360"/>
                  <a:pt x="0" y="181617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dirty="0"/>
          </a:p>
        </p:txBody>
      </p:sp>
      <p:sp>
        <p:nvSpPr>
          <p:cNvPr id="2" name="Freeform: Shape 1">
            <a:extLst>
              <a:ext uri="{FF2B5EF4-FFF2-40B4-BE49-F238E27FC236}">
                <a16:creationId xmlns:a16="http://schemas.microsoft.com/office/drawing/2014/main" id="{FFB077E6-A497-BD51-F093-6A35A273C691}"/>
              </a:ext>
            </a:extLst>
          </p:cNvPr>
          <p:cNvSpPr/>
          <p:nvPr userDrawn="1"/>
        </p:nvSpPr>
        <p:spPr>
          <a:xfrm>
            <a:off x="0" y="184645"/>
            <a:ext cx="264043" cy="559397"/>
          </a:xfrm>
          <a:custGeom>
            <a:avLst/>
            <a:gdLst>
              <a:gd name="connsiteX0" fmla="*/ 0 w 857257"/>
              <a:gd name="connsiteY0" fmla="*/ 0 h 1816170"/>
              <a:gd name="connsiteX1" fmla="*/ 841477 w 857257"/>
              <a:gd name="connsiteY1" fmla="*/ 890550 h 1816170"/>
              <a:gd name="connsiteX2" fmla="*/ 841477 w 857257"/>
              <a:gd name="connsiteY2" fmla="*/ 925611 h 1816170"/>
              <a:gd name="connsiteX3" fmla="*/ 0 w 857257"/>
              <a:gd name="connsiteY3" fmla="*/ 1816170 h 1816170"/>
              <a:gd name="connsiteX4" fmla="*/ 0 w 857257"/>
              <a:gd name="connsiteY4" fmla="*/ 0 h 18161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57257" h="1816170">
                <a:moveTo>
                  <a:pt x="0" y="0"/>
                </a:moveTo>
                <a:cubicBezTo>
                  <a:pt x="0" y="462811"/>
                  <a:pt x="301523" y="743293"/>
                  <a:pt x="841477" y="890550"/>
                </a:cubicBezTo>
                <a:cubicBezTo>
                  <a:pt x="862517" y="897560"/>
                  <a:pt x="862517" y="918601"/>
                  <a:pt x="841477" y="925611"/>
                </a:cubicBezTo>
                <a:cubicBezTo>
                  <a:pt x="301523" y="1072868"/>
                  <a:pt x="0" y="1353360"/>
                  <a:pt x="0" y="181617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998372C-60D7-1ED9-3EFF-2756FA6C68A9}"/>
              </a:ext>
            </a:extLst>
          </p:cNvPr>
          <p:cNvSpPr>
            <a:spLocks noGrp="1"/>
          </p:cNvSpPr>
          <p:nvPr>
            <p:ph type="dt" sz="half" idx="29"/>
          </p:nvPr>
        </p:nvSpPr>
        <p:spPr/>
        <p:txBody>
          <a:bodyPr/>
          <a:lstStyle/>
          <a:p>
            <a:fld id="{346B58B4-0D72-4C8B-9355-854FB5782278}" type="datetime4">
              <a:rPr lang="en-GB" smtClean="0"/>
              <a:pPr/>
              <a:t>22 September 2025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71C5852-2B79-0889-D490-2D9D48ED856C}"/>
              </a:ext>
            </a:extLst>
          </p:cNvPr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B869CBD-60F9-2B1C-8BB7-986A6440AC88}"/>
              </a:ext>
            </a:extLst>
          </p:cNvPr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fld id="{9F9F533D-B52E-4A2F-BF72-0ADD2D94BD75}" type="slidenum">
              <a:rPr lang="en-GB" smtClean="0"/>
              <a:pPr/>
              <a:t>‹#›</a:t>
            </a:fld>
            <a:endParaRPr lang="en-GB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5949232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Image a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365125" y="1303338"/>
            <a:ext cx="3652838" cy="4785927"/>
          </a:xfrm>
          <a:prstGeom prst="rect">
            <a:avLst/>
          </a:prstGeom>
        </p:spPr>
        <p:txBody>
          <a:bodyPr lIns="36000" tIns="36000" rIns="36000" bIns="36000">
            <a:noAutofit/>
          </a:bodyPr>
          <a:lstStyle>
            <a:lvl1pPr marL="0" indent="0">
              <a:buClr>
                <a:schemeClr val="tx2"/>
              </a:buClr>
              <a:buFont typeface="Arial" panose="020B0604020202020204" pitchFamily="34" charset="0"/>
              <a:buNone/>
              <a:defRPr/>
            </a:lvl1pPr>
            <a:lvl2pPr marL="357542" indent="0">
              <a:buClr>
                <a:schemeClr val="tx1"/>
              </a:buClr>
              <a:buFont typeface="Arial" panose="020B0604020202020204" pitchFamily="34" charset="0"/>
              <a:buNone/>
              <a:defRPr/>
            </a:lvl2pPr>
            <a:lvl3pPr marL="719982" indent="0">
              <a:buClr>
                <a:schemeClr val="tx1"/>
              </a:buClr>
              <a:buFont typeface="Arial" panose="020B0604020202020204" pitchFamily="34" charset="0"/>
              <a:buNone/>
              <a:defRPr/>
            </a:lvl3pPr>
            <a:lvl4pPr marL="1081424" indent="0">
              <a:buClr>
                <a:schemeClr val="tx1"/>
              </a:buClr>
              <a:buFont typeface="Arial" panose="020B0604020202020204" pitchFamily="34" charset="0"/>
              <a:buNone/>
              <a:defRPr/>
            </a:lvl4pPr>
            <a:lvl5pPr marL="1439964" indent="0">
              <a:buClr>
                <a:schemeClr val="tx1"/>
              </a:buClr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dirty="0"/>
              <a:t>Click to enter text content. </a:t>
            </a:r>
            <a:r>
              <a:rPr lang="en-US" dirty="0"/>
              <a:t>If text content appears too large please reduce the size of the font.</a:t>
            </a:r>
            <a:endParaRPr lang="en-GB" dirty="0"/>
          </a:p>
        </p:txBody>
      </p:sp>
      <p:sp>
        <p:nvSpPr>
          <p:cNvPr id="20" name="Picture Placeholder 8"/>
          <p:cNvSpPr>
            <a:spLocks noGrp="1"/>
          </p:cNvSpPr>
          <p:nvPr>
            <p:ph type="pic" sz="quarter" idx="14" hasCustomPrompt="1"/>
          </p:nvPr>
        </p:nvSpPr>
        <p:spPr>
          <a:xfrm>
            <a:off x="4270375" y="1303338"/>
            <a:ext cx="3649663" cy="4471820"/>
          </a:xfrm>
          <a:prstGeom prst="roundRect">
            <a:avLst>
              <a:gd name="adj" fmla="val 4843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lIns="0" tIns="180000" rIns="0" bIns="72000" anchor="ctr">
            <a:noAutofit/>
          </a:bodyPr>
          <a:lstStyle>
            <a:lvl1pPr marL="0" indent="0" algn="ctr">
              <a:buNone/>
              <a:defRPr sz="1800" i="0" baseline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[Click here to insert image]</a:t>
            </a:r>
            <a:br>
              <a:rPr lang="en-GB" dirty="0"/>
            </a:br>
            <a:br>
              <a:rPr lang="en-GB" dirty="0"/>
            </a:br>
            <a:br>
              <a:rPr lang="en-GB" dirty="0"/>
            </a:br>
            <a:br>
              <a:rPr lang="en-GB" dirty="0"/>
            </a:br>
            <a:br>
              <a:rPr lang="en-GB" dirty="0"/>
            </a:br>
            <a:br>
              <a:rPr lang="en-GB" dirty="0"/>
            </a:br>
            <a:r>
              <a:rPr lang="en-GB" dirty="0"/>
              <a:t>[</a:t>
            </a:r>
            <a:r>
              <a:rPr lang="en-US" dirty="0"/>
              <a:t>The image can then be scaled within the frame by using the ‘Crop’ feature in the ‘Picture Format’ tab of the ribbon. Right click on image to add/edit alt text]</a:t>
            </a:r>
            <a:endParaRPr lang="en-GB" dirty="0"/>
          </a:p>
        </p:txBody>
      </p:sp>
      <p:sp>
        <p:nvSpPr>
          <p:cNvPr id="21" name="Text Placeholder 7"/>
          <p:cNvSpPr>
            <a:spLocks noGrp="1"/>
          </p:cNvSpPr>
          <p:nvPr>
            <p:ph type="body" sz="quarter" idx="26" hasCustomPrompt="1"/>
          </p:nvPr>
        </p:nvSpPr>
        <p:spPr>
          <a:xfrm>
            <a:off x="4270376" y="5790465"/>
            <a:ext cx="3650970" cy="2988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800">
                <a:solidFill>
                  <a:schemeClr val="tx1"/>
                </a:solidFill>
              </a:defRPr>
            </a:lvl1pPr>
            <a:lvl2pPr marL="357542" indent="0">
              <a:buNone/>
              <a:defRPr sz="1067">
                <a:solidFill>
                  <a:schemeClr val="bg2"/>
                </a:solidFill>
              </a:defRPr>
            </a:lvl2pPr>
            <a:lvl3pPr marL="719982" indent="0">
              <a:buNone/>
              <a:defRPr sz="1067">
                <a:solidFill>
                  <a:schemeClr val="bg2"/>
                </a:solidFill>
              </a:defRPr>
            </a:lvl3pPr>
            <a:lvl4pPr marL="1081424" indent="0">
              <a:buNone/>
              <a:defRPr sz="1067">
                <a:solidFill>
                  <a:schemeClr val="bg2"/>
                </a:solidFill>
              </a:defRPr>
            </a:lvl4pPr>
            <a:lvl5pPr marL="1439964" indent="0">
              <a:buNone/>
              <a:defRPr sz="1067"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Insert Source text</a:t>
            </a:r>
          </a:p>
        </p:txBody>
      </p:sp>
      <p:sp>
        <p:nvSpPr>
          <p:cNvPr id="35" name="Picture Placeholder 8"/>
          <p:cNvSpPr>
            <a:spLocks noGrp="1"/>
          </p:cNvSpPr>
          <p:nvPr>
            <p:ph type="pic" sz="quarter" idx="27" hasCustomPrompt="1"/>
          </p:nvPr>
        </p:nvSpPr>
        <p:spPr>
          <a:xfrm>
            <a:off x="8172450" y="1303338"/>
            <a:ext cx="3650400" cy="4471200"/>
          </a:xfrm>
          <a:prstGeom prst="roundRect">
            <a:avLst>
              <a:gd name="adj" fmla="val 5084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lIns="0" tIns="180000" rIns="0" bIns="72000" anchor="ctr">
            <a:noAutofit/>
          </a:bodyPr>
          <a:lstStyle>
            <a:lvl1pPr marL="0" indent="0" algn="ctr">
              <a:buNone/>
              <a:defRPr sz="1800" i="0" baseline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[Click here to insert image]</a:t>
            </a:r>
            <a:br>
              <a:rPr lang="en-GB" dirty="0"/>
            </a:br>
            <a:br>
              <a:rPr lang="en-GB" dirty="0"/>
            </a:br>
            <a:br>
              <a:rPr lang="en-GB" dirty="0"/>
            </a:br>
            <a:br>
              <a:rPr lang="en-GB" dirty="0"/>
            </a:br>
            <a:br>
              <a:rPr lang="en-GB" dirty="0"/>
            </a:br>
            <a:br>
              <a:rPr lang="en-GB" dirty="0"/>
            </a:br>
            <a:r>
              <a:rPr lang="en-GB" dirty="0"/>
              <a:t>[</a:t>
            </a:r>
            <a:r>
              <a:rPr lang="en-US" dirty="0"/>
              <a:t>The image can then be scaled within the frame by using the ‘Crop’ feature in the ‘Picture Format’ tab of the ribbon. Right click on image to add/edit alt text]</a:t>
            </a:r>
            <a:endParaRPr lang="en-GB" dirty="0"/>
          </a:p>
        </p:txBody>
      </p:sp>
      <p:sp>
        <p:nvSpPr>
          <p:cNvPr id="36" name="Text Placeholder 7"/>
          <p:cNvSpPr>
            <a:spLocks noGrp="1"/>
          </p:cNvSpPr>
          <p:nvPr>
            <p:ph type="body" sz="quarter" idx="28" hasCustomPrompt="1"/>
          </p:nvPr>
        </p:nvSpPr>
        <p:spPr>
          <a:xfrm>
            <a:off x="8172450" y="5792438"/>
            <a:ext cx="3652838" cy="2988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800">
                <a:solidFill>
                  <a:schemeClr val="tx1"/>
                </a:solidFill>
              </a:defRPr>
            </a:lvl1pPr>
            <a:lvl2pPr marL="357542" indent="0">
              <a:buNone/>
              <a:defRPr sz="1067">
                <a:solidFill>
                  <a:schemeClr val="bg2"/>
                </a:solidFill>
              </a:defRPr>
            </a:lvl2pPr>
            <a:lvl3pPr marL="719982" indent="0">
              <a:buNone/>
              <a:defRPr sz="1067">
                <a:solidFill>
                  <a:schemeClr val="bg2"/>
                </a:solidFill>
              </a:defRPr>
            </a:lvl3pPr>
            <a:lvl4pPr marL="1081424" indent="0">
              <a:buNone/>
              <a:defRPr sz="1067">
                <a:solidFill>
                  <a:schemeClr val="bg2"/>
                </a:solidFill>
              </a:defRPr>
            </a:lvl4pPr>
            <a:lvl5pPr marL="1439964" indent="0">
              <a:buNone/>
              <a:defRPr sz="1067"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Insert Source text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62258698-286C-88FD-70CB-ECDC7EEFE76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5125" y="242888"/>
            <a:ext cx="11460163" cy="43088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9D5C8553-9D06-642B-D0A0-1E6DF4F5CE6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5125" y="694950"/>
            <a:ext cx="11460164" cy="352800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2400" i="0">
                <a:solidFill>
                  <a:schemeClr val="tx1"/>
                </a:solidFill>
                <a:latin typeface="+mn-lt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/>
              <a:t>Click to enter slide subtitle</a:t>
            </a:r>
          </a:p>
        </p:txBody>
      </p:sp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6C8E6EBF-1077-88CA-250A-BC3D173D6251}"/>
              </a:ext>
            </a:extLst>
          </p:cNvPr>
          <p:cNvSpPr/>
          <p:nvPr/>
        </p:nvSpPr>
        <p:spPr>
          <a:xfrm>
            <a:off x="0" y="184645"/>
            <a:ext cx="264043" cy="559397"/>
          </a:xfrm>
          <a:custGeom>
            <a:avLst/>
            <a:gdLst>
              <a:gd name="connsiteX0" fmla="*/ 0 w 857257"/>
              <a:gd name="connsiteY0" fmla="*/ 0 h 1816170"/>
              <a:gd name="connsiteX1" fmla="*/ 841477 w 857257"/>
              <a:gd name="connsiteY1" fmla="*/ 890550 h 1816170"/>
              <a:gd name="connsiteX2" fmla="*/ 841477 w 857257"/>
              <a:gd name="connsiteY2" fmla="*/ 925611 h 1816170"/>
              <a:gd name="connsiteX3" fmla="*/ 0 w 857257"/>
              <a:gd name="connsiteY3" fmla="*/ 1816170 h 1816170"/>
              <a:gd name="connsiteX4" fmla="*/ 0 w 857257"/>
              <a:gd name="connsiteY4" fmla="*/ 0 h 18161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57257" h="1816170">
                <a:moveTo>
                  <a:pt x="0" y="0"/>
                </a:moveTo>
                <a:cubicBezTo>
                  <a:pt x="0" y="462811"/>
                  <a:pt x="301523" y="743293"/>
                  <a:pt x="841477" y="890550"/>
                </a:cubicBezTo>
                <a:cubicBezTo>
                  <a:pt x="862517" y="897560"/>
                  <a:pt x="862517" y="918601"/>
                  <a:pt x="841477" y="925611"/>
                </a:cubicBezTo>
                <a:cubicBezTo>
                  <a:pt x="301523" y="1072868"/>
                  <a:pt x="0" y="1353360"/>
                  <a:pt x="0" y="181617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dirty="0"/>
          </a:p>
        </p:txBody>
      </p:sp>
      <p:sp>
        <p:nvSpPr>
          <p:cNvPr id="2" name="Freeform: Shape 1">
            <a:extLst>
              <a:ext uri="{FF2B5EF4-FFF2-40B4-BE49-F238E27FC236}">
                <a16:creationId xmlns:a16="http://schemas.microsoft.com/office/drawing/2014/main" id="{892829F7-D00B-D1D9-8C3F-B46975A49CE1}"/>
              </a:ext>
            </a:extLst>
          </p:cNvPr>
          <p:cNvSpPr/>
          <p:nvPr userDrawn="1"/>
        </p:nvSpPr>
        <p:spPr>
          <a:xfrm>
            <a:off x="0" y="184645"/>
            <a:ext cx="264043" cy="559397"/>
          </a:xfrm>
          <a:custGeom>
            <a:avLst/>
            <a:gdLst>
              <a:gd name="connsiteX0" fmla="*/ 0 w 857257"/>
              <a:gd name="connsiteY0" fmla="*/ 0 h 1816170"/>
              <a:gd name="connsiteX1" fmla="*/ 841477 w 857257"/>
              <a:gd name="connsiteY1" fmla="*/ 890550 h 1816170"/>
              <a:gd name="connsiteX2" fmla="*/ 841477 w 857257"/>
              <a:gd name="connsiteY2" fmla="*/ 925611 h 1816170"/>
              <a:gd name="connsiteX3" fmla="*/ 0 w 857257"/>
              <a:gd name="connsiteY3" fmla="*/ 1816170 h 1816170"/>
              <a:gd name="connsiteX4" fmla="*/ 0 w 857257"/>
              <a:gd name="connsiteY4" fmla="*/ 0 h 18161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57257" h="1816170">
                <a:moveTo>
                  <a:pt x="0" y="0"/>
                </a:moveTo>
                <a:cubicBezTo>
                  <a:pt x="0" y="462811"/>
                  <a:pt x="301523" y="743293"/>
                  <a:pt x="841477" y="890550"/>
                </a:cubicBezTo>
                <a:cubicBezTo>
                  <a:pt x="862517" y="897560"/>
                  <a:pt x="862517" y="918601"/>
                  <a:pt x="841477" y="925611"/>
                </a:cubicBezTo>
                <a:cubicBezTo>
                  <a:pt x="301523" y="1072868"/>
                  <a:pt x="0" y="1353360"/>
                  <a:pt x="0" y="181617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2999C54-6159-EC9E-9863-DD9A3C49E55B}"/>
              </a:ext>
            </a:extLst>
          </p:cNvPr>
          <p:cNvSpPr>
            <a:spLocks noGrp="1"/>
          </p:cNvSpPr>
          <p:nvPr>
            <p:ph type="dt" sz="half" idx="29"/>
          </p:nvPr>
        </p:nvSpPr>
        <p:spPr/>
        <p:txBody>
          <a:bodyPr/>
          <a:lstStyle/>
          <a:p>
            <a:fld id="{346B58B4-0D72-4C8B-9355-854FB5782278}" type="datetime4">
              <a:rPr lang="en-GB" smtClean="0"/>
              <a:pPr/>
              <a:t>22 September 2025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9EADD13-5880-A386-07C6-8DE7F4778E93}"/>
              </a:ext>
            </a:extLst>
          </p:cNvPr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D13B5DC-D84D-A373-397E-A4D34C344966}"/>
              </a:ext>
            </a:extLst>
          </p:cNvPr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fld id="{9F9F533D-B52E-4A2F-BF72-0ADD2D94BD75}" type="slidenum">
              <a:rPr lang="en-GB" smtClean="0"/>
              <a:pPr/>
              <a:t>‹#›</a:t>
            </a:fld>
            <a:endParaRPr lang="en-GB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4313714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7CB5633-6431-4284-9ADB-4E6151258883}"/>
              </a:ext>
            </a:extLst>
          </p:cNvPr>
          <p:cNvSpPr>
            <a:spLocks noGrp="1"/>
          </p:cNvSpPr>
          <p:nvPr>
            <p:ph type="dt" sz="half" idx="30"/>
          </p:nvPr>
        </p:nvSpPr>
        <p:spPr/>
        <p:txBody>
          <a:bodyPr/>
          <a:lstStyle/>
          <a:p>
            <a:fld id="{11AFB533-57EF-4766-9D87-DAD3C67F4A40}" type="datetime4">
              <a:rPr lang="en-GB" smtClean="0"/>
              <a:t>22 September 2025</a:t>
            </a:fld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95C4D40-638F-40AA-882E-9A6164C79568}"/>
              </a:ext>
            </a:extLst>
          </p:cNvPr>
          <p:cNvSpPr>
            <a:spLocks noGrp="1"/>
          </p:cNvSpPr>
          <p:nvPr>
            <p:ph type="ftr" sz="quarter" idx="3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223E44AE-F798-4C55-8F91-872E4A737927}"/>
              </a:ext>
            </a:extLst>
          </p:cNvPr>
          <p:cNvSpPr>
            <a:spLocks noGrp="1"/>
          </p:cNvSpPr>
          <p:nvPr>
            <p:ph type="sldNum" sz="quarter" idx="32"/>
          </p:nvPr>
        </p:nvSpPr>
        <p:spPr/>
        <p:txBody>
          <a:bodyPr/>
          <a:lstStyle/>
          <a:p>
            <a:fld id="{9F9F533D-B52E-4A2F-BF72-0ADD2D94BD75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28B3A39-D8B7-A2C0-89DB-5314F345D351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365125" y="5792400"/>
            <a:ext cx="11460163" cy="298800"/>
          </a:xfrm>
        </p:spPr>
        <p:txBody>
          <a:bodyPr lIns="0" tIns="0" rIns="0" bIns="0" anchor="b">
            <a:noAutofit/>
          </a:bodyPr>
          <a:lstStyle>
            <a:lvl1pPr marL="0" indent="0">
              <a:buNone/>
              <a:defRPr sz="800"/>
            </a:lvl1pPr>
            <a:lvl2pPr marL="357542" indent="0">
              <a:buNone/>
              <a:defRPr sz="1000"/>
            </a:lvl2pPr>
            <a:lvl3pPr marL="719982" indent="0">
              <a:buNone/>
              <a:defRPr sz="1000"/>
            </a:lvl3pPr>
            <a:lvl4pPr marL="1081424" indent="0">
              <a:buNone/>
              <a:defRPr sz="1000"/>
            </a:lvl4pPr>
            <a:lvl5pPr marL="1439964" indent="0">
              <a:buNone/>
              <a:defRPr sz="1000"/>
            </a:lvl5pPr>
          </a:lstStyle>
          <a:p>
            <a:pPr lvl="0"/>
            <a:r>
              <a:rPr lang="en-US" dirty="0"/>
              <a:t>Insert Source text</a:t>
            </a:r>
          </a:p>
        </p:txBody>
      </p:sp>
      <p:sp>
        <p:nvSpPr>
          <p:cNvPr id="7" name="Table Placeholder 6">
            <a:extLst>
              <a:ext uri="{FF2B5EF4-FFF2-40B4-BE49-F238E27FC236}">
                <a16:creationId xmlns:a16="http://schemas.microsoft.com/office/drawing/2014/main" id="{2E2FA657-3A41-6C8A-7C73-5FF4D5761F76}"/>
              </a:ext>
            </a:extLst>
          </p:cNvPr>
          <p:cNvSpPr>
            <a:spLocks noGrp="1"/>
          </p:cNvSpPr>
          <p:nvPr>
            <p:ph type="tbl" sz="quarter" idx="34" hasCustomPrompt="1"/>
          </p:nvPr>
        </p:nvSpPr>
        <p:spPr>
          <a:xfrm>
            <a:off x="365119" y="1303338"/>
            <a:ext cx="11459625" cy="4489450"/>
          </a:xfrm>
        </p:spPr>
        <p:txBody>
          <a:bodyPr lIns="36000" rIns="36000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en-GB" dirty="0"/>
              <a:t>[Click TABLE icon to insert table.]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F7A4EB32-D948-C409-F1E5-9F712310D5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5125" y="242888"/>
            <a:ext cx="11460163" cy="43088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1E30107F-6B57-65E7-BD35-CCB493B8D6D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5125" y="694950"/>
            <a:ext cx="11460164" cy="352800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2400" i="0">
                <a:solidFill>
                  <a:schemeClr val="tx1"/>
                </a:solidFill>
                <a:latin typeface="+mn-lt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/>
              <a:t>Click to enter slide subtitle</a:t>
            </a:r>
          </a:p>
        </p:txBody>
      </p:sp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0F611BFB-31C6-6656-90B9-BB1C81967B2F}"/>
              </a:ext>
            </a:extLst>
          </p:cNvPr>
          <p:cNvSpPr/>
          <p:nvPr/>
        </p:nvSpPr>
        <p:spPr>
          <a:xfrm>
            <a:off x="0" y="184645"/>
            <a:ext cx="264043" cy="559397"/>
          </a:xfrm>
          <a:custGeom>
            <a:avLst/>
            <a:gdLst>
              <a:gd name="connsiteX0" fmla="*/ 0 w 857257"/>
              <a:gd name="connsiteY0" fmla="*/ 0 h 1816170"/>
              <a:gd name="connsiteX1" fmla="*/ 841477 w 857257"/>
              <a:gd name="connsiteY1" fmla="*/ 890550 h 1816170"/>
              <a:gd name="connsiteX2" fmla="*/ 841477 w 857257"/>
              <a:gd name="connsiteY2" fmla="*/ 925611 h 1816170"/>
              <a:gd name="connsiteX3" fmla="*/ 0 w 857257"/>
              <a:gd name="connsiteY3" fmla="*/ 1816170 h 1816170"/>
              <a:gd name="connsiteX4" fmla="*/ 0 w 857257"/>
              <a:gd name="connsiteY4" fmla="*/ 0 h 18161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57257" h="1816170">
                <a:moveTo>
                  <a:pt x="0" y="0"/>
                </a:moveTo>
                <a:cubicBezTo>
                  <a:pt x="0" y="462811"/>
                  <a:pt x="301523" y="743293"/>
                  <a:pt x="841477" y="890550"/>
                </a:cubicBezTo>
                <a:cubicBezTo>
                  <a:pt x="862517" y="897560"/>
                  <a:pt x="862517" y="918601"/>
                  <a:pt x="841477" y="925611"/>
                </a:cubicBezTo>
                <a:cubicBezTo>
                  <a:pt x="301523" y="1072868"/>
                  <a:pt x="0" y="1353360"/>
                  <a:pt x="0" y="181617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dirty="0"/>
          </a:p>
        </p:txBody>
      </p:sp>
      <p:sp>
        <p:nvSpPr>
          <p:cNvPr id="2" name="Freeform: Shape 1">
            <a:extLst>
              <a:ext uri="{FF2B5EF4-FFF2-40B4-BE49-F238E27FC236}">
                <a16:creationId xmlns:a16="http://schemas.microsoft.com/office/drawing/2014/main" id="{CFC215B3-1FB2-8234-43A0-F10081D89FE6}"/>
              </a:ext>
            </a:extLst>
          </p:cNvPr>
          <p:cNvSpPr/>
          <p:nvPr userDrawn="1"/>
        </p:nvSpPr>
        <p:spPr>
          <a:xfrm>
            <a:off x="0" y="184645"/>
            <a:ext cx="264043" cy="559397"/>
          </a:xfrm>
          <a:custGeom>
            <a:avLst/>
            <a:gdLst>
              <a:gd name="connsiteX0" fmla="*/ 0 w 857257"/>
              <a:gd name="connsiteY0" fmla="*/ 0 h 1816170"/>
              <a:gd name="connsiteX1" fmla="*/ 841477 w 857257"/>
              <a:gd name="connsiteY1" fmla="*/ 890550 h 1816170"/>
              <a:gd name="connsiteX2" fmla="*/ 841477 w 857257"/>
              <a:gd name="connsiteY2" fmla="*/ 925611 h 1816170"/>
              <a:gd name="connsiteX3" fmla="*/ 0 w 857257"/>
              <a:gd name="connsiteY3" fmla="*/ 1816170 h 1816170"/>
              <a:gd name="connsiteX4" fmla="*/ 0 w 857257"/>
              <a:gd name="connsiteY4" fmla="*/ 0 h 18161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57257" h="1816170">
                <a:moveTo>
                  <a:pt x="0" y="0"/>
                </a:moveTo>
                <a:cubicBezTo>
                  <a:pt x="0" y="462811"/>
                  <a:pt x="301523" y="743293"/>
                  <a:pt x="841477" y="890550"/>
                </a:cubicBezTo>
                <a:cubicBezTo>
                  <a:pt x="862517" y="897560"/>
                  <a:pt x="862517" y="918601"/>
                  <a:pt x="841477" y="925611"/>
                </a:cubicBezTo>
                <a:cubicBezTo>
                  <a:pt x="301523" y="1072868"/>
                  <a:pt x="0" y="1353360"/>
                  <a:pt x="0" y="181617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519732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Grap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7CB5633-6431-4284-9ADB-4E6151258883}"/>
              </a:ext>
            </a:extLst>
          </p:cNvPr>
          <p:cNvSpPr>
            <a:spLocks noGrp="1"/>
          </p:cNvSpPr>
          <p:nvPr>
            <p:ph type="dt" sz="half" idx="30"/>
          </p:nvPr>
        </p:nvSpPr>
        <p:spPr/>
        <p:txBody>
          <a:bodyPr/>
          <a:lstStyle/>
          <a:p>
            <a:fld id="{84741D83-B006-4893-8541-66BA34E08C4B}" type="datetime4">
              <a:rPr lang="en-GB" smtClean="0"/>
              <a:t>22 September 2025</a:t>
            </a:fld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95C4D40-638F-40AA-882E-9A6164C79568}"/>
              </a:ext>
            </a:extLst>
          </p:cNvPr>
          <p:cNvSpPr>
            <a:spLocks noGrp="1"/>
          </p:cNvSpPr>
          <p:nvPr>
            <p:ph type="ftr" sz="quarter" idx="3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223E44AE-F798-4C55-8F91-872E4A737927}"/>
              </a:ext>
            </a:extLst>
          </p:cNvPr>
          <p:cNvSpPr>
            <a:spLocks noGrp="1"/>
          </p:cNvSpPr>
          <p:nvPr>
            <p:ph type="sldNum" sz="quarter" idx="32"/>
          </p:nvPr>
        </p:nvSpPr>
        <p:spPr/>
        <p:txBody>
          <a:bodyPr/>
          <a:lstStyle/>
          <a:p>
            <a:fld id="{9F9F533D-B52E-4A2F-BF72-0ADD2D94BD75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28B3A39-D8B7-A2C0-89DB-5314F345D351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366713" y="5792400"/>
            <a:ext cx="11460164" cy="298800"/>
          </a:xfrm>
        </p:spPr>
        <p:txBody>
          <a:bodyPr lIns="0" tIns="0" rIns="0" bIns="0" anchor="b">
            <a:noAutofit/>
          </a:bodyPr>
          <a:lstStyle>
            <a:lvl1pPr marL="0" indent="0">
              <a:buNone/>
              <a:defRPr sz="800"/>
            </a:lvl1pPr>
            <a:lvl2pPr marL="357542" indent="0">
              <a:buNone/>
              <a:defRPr sz="1000"/>
            </a:lvl2pPr>
            <a:lvl3pPr marL="719982" indent="0">
              <a:buNone/>
              <a:defRPr sz="1000"/>
            </a:lvl3pPr>
            <a:lvl4pPr marL="1081424" indent="0">
              <a:buNone/>
              <a:defRPr sz="1000"/>
            </a:lvl4pPr>
            <a:lvl5pPr marL="1439964" indent="0">
              <a:buNone/>
              <a:defRPr sz="1000"/>
            </a:lvl5pPr>
          </a:lstStyle>
          <a:p>
            <a:pPr lvl="0"/>
            <a:r>
              <a:rPr lang="en-US" dirty="0"/>
              <a:t>Insert Source text</a:t>
            </a:r>
          </a:p>
        </p:txBody>
      </p:sp>
      <p:sp>
        <p:nvSpPr>
          <p:cNvPr id="7" name="Chart Placeholder 6">
            <a:extLst>
              <a:ext uri="{FF2B5EF4-FFF2-40B4-BE49-F238E27FC236}">
                <a16:creationId xmlns:a16="http://schemas.microsoft.com/office/drawing/2014/main" id="{8994D5C1-7836-1E91-87FA-56E472221EB3}"/>
              </a:ext>
            </a:extLst>
          </p:cNvPr>
          <p:cNvSpPr>
            <a:spLocks noGrp="1"/>
          </p:cNvSpPr>
          <p:nvPr>
            <p:ph type="chart" sz="quarter" idx="34" hasCustomPrompt="1"/>
          </p:nvPr>
        </p:nvSpPr>
        <p:spPr>
          <a:xfrm>
            <a:off x="365125" y="1303338"/>
            <a:ext cx="11460163" cy="4489062"/>
          </a:xfrm>
        </p:spPr>
        <p:txBody>
          <a:bodyPr lIns="36000" rIns="36000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en-GB" dirty="0"/>
              <a:t>[Click CHART icons to insert chart.]</a:t>
            </a:r>
            <a:br>
              <a:rPr lang="en-GB" dirty="0"/>
            </a:br>
            <a:r>
              <a:rPr lang="en-US" dirty="0"/>
              <a:t>Please ensure your chart title, legend, x and y axis titles are minimum 12 pt, Arial black for accessibility. </a:t>
            </a:r>
          </a:p>
          <a:p>
            <a:endParaRPr lang="en-GB" dirty="0"/>
          </a:p>
          <a:p>
            <a:endParaRPr lang="en-GB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20CCEE79-8221-4C6C-2397-0791C954AA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5125" y="242888"/>
            <a:ext cx="11460163" cy="43088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4091ECF0-259D-F144-9708-B8296C87B04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5125" y="694950"/>
            <a:ext cx="11460164" cy="352800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2400" i="0">
                <a:solidFill>
                  <a:schemeClr val="tx1"/>
                </a:solidFill>
                <a:latin typeface="+mn-lt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/>
              <a:t>Click to enter slide subtitle</a:t>
            </a:r>
          </a:p>
        </p:txBody>
      </p:sp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C3FC0E92-53E2-6353-15B7-7028E9E80A82}"/>
              </a:ext>
            </a:extLst>
          </p:cNvPr>
          <p:cNvSpPr/>
          <p:nvPr/>
        </p:nvSpPr>
        <p:spPr>
          <a:xfrm>
            <a:off x="0" y="184645"/>
            <a:ext cx="264043" cy="559397"/>
          </a:xfrm>
          <a:custGeom>
            <a:avLst/>
            <a:gdLst>
              <a:gd name="connsiteX0" fmla="*/ 0 w 857257"/>
              <a:gd name="connsiteY0" fmla="*/ 0 h 1816170"/>
              <a:gd name="connsiteX1" fmla="*/ 841477 w 857257"/>
              <a:gd name="connsiteY1" fmla="*/ 890550 h 1816170"/>
              <a:gd name="connsiteX2" fmla="*/ 841477 w 857257"/>
              <a:gd name="connsiteY2" fmla="*/ 925611 h 1816170"/>
              <a:gd name="connsiteX3" fmla="*/ 0 w 857257"/>
              <a:gd name="connsiteY3" fmla="*/ 1816170 h 1816170"/>
              <a:gd name="connsiteX4" fmla="*/ 0 w 857257"/>
              <a:gd name="connsiteY4" fmla="*/ 0 h 18161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57257" h="1816170">
                <a:moveTo>
                  <a:pt x="0" y="0"/>
                </a:moveTo>
                <a:cubicBezTo>
                  <a:pt x="0" y="462811"/>
                  <a:pt x="301523" y="743293"/>
                  <a:pt x="841477" y="890550"/>
                </a:cubicBezTo>
                <a:cubicBezTo>
                  <a:pt x="862517" y="897560"/>
                  <a:pt x="862517" y="918601"/>
                  <a:pt x="841477" y="925611"/>
                </a:cubicBezTo>
                <a:cubicBezTo>
                  <a:pt x="301523" y="1072868"/>
                  <a:pt x="0" y="1353360"/>
                  <a:pt x="0" y="181617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dirty="0"/>
          </a:p>
        </p:txBody>
      </p:sp>
      <p:sp>
        <p:nvSpPr>
          <p:cNvPr id="2" name="Freeform: Shape 1">
            <a:extLst>
              <a:ext uri="{FF2B5EF4-FFF2-40B4-BE49-F238E27FC236}">
                <a16:creationId xmlns:a16="http://schemas.microsoft.com/office/drawing/2014/main" id="{BE617660-F2DC-E09E-FCD2-2D56713F40B7}"/>
              </a:ext>
            </a:extLst>
          </p:cNvPr>
          <p:cNvSpPr/>
          <p:nvPr userDrawn="1"/>
        </p:nvSpPr>
        <p:spPr>
          <a:xfrm>
            <a:off x="0" y="184645"/>
            <a:ext cx="264043" cy="559397"/>
          </a:xfrm>
          <a:custGeom>
            <a:avLst/>
            <a:gdLst>
              <a:gd name="connsiteX0" fmla="*/ 0 w 857257"/>
              <a:gd name="connsiteY0" fmla="*/ 0 h 1816170"/>
              <a:gd name="connsiteX1" fmla="*/ 841477 w 857257"/>
              <a:gd name="connsiteY1" fmla="*/ 890550 h 1816170"/>
              <a:gd name="connsiteX2" fmla="*/ 841477 w 857257"/>
              <a:gd name="connsiteY2" fmla="*/ 925611 h 1816170"/>
              <a:gd name="connsiteX3" fmla="*/ 0 w 857257"/>
              <a:gd name="connsiteY3" fmla="*/ 1816170 h 1816170"/>
              <a:gd name="connsiteX4" fmla="*/ 0 w 857257"/>
              <a:gd name="connsiteY4" fmla="*/ 0 h 18161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57257" h="1816170">
                <a:moveTo>
                  <a:pt x="0" y="0"/>
                </a:moveTo>
                <a:cubicBezTo>
                  <a:pt x="0" y="462811"/>
                  <a:pt x="301523" y="743293"/>
                  <a:pt x="841477" y="890550"/>
                </a:cubicBezTo>
                <a:cubicBezTo>
                  <a:pt x="862517" y="897560"/>
                  <a:pt x="862517" y="918601"/>
                  <a:pt x="841477" y="925611"/>
                </a:cubicBezTo>
                <a:cubicBezTo>
                  <a:pt x="301523" y="1072868"/>
                  <a:pt x="0" y="1353360"/>
                  <a:pt x="0" y="181617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033488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2E57A6D-CCB0-DF2D-0D9A-6184CE39694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C42BDB7-A7FE-AA4E-3952-EBCCAC237C9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F9F533D-B52E-4A2F-BF72-0ADD2D94BD75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76D6505-B9A2-3A36-B9B6-3E3CF07A64AF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346B58B4-0D72-4C8B-9355-854FB5782278}" type="datetime4">
              <a:rPr lang="en-GB" smtClean="0"/>
              <a:t>22 September 2025</a:t>
            </a:fld>
            <a:endParaRPr lang="en-GB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4B3924AB-56D4-343D-306B-195A924E9EF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65125" y="5792400"/>
            <a:ext cx="11460164" cy="298800"/>
          </a:xfrm>
        </p:spPr>
        <p:txBody>
          <a:bodyPr lIns="0" tIns="0" rIns="0" bIns="0" anchor="b">
            <a:noAutofit/>
          </a:bodyPr>
          <a:lstStyle>
            <a:lvl1pPr marL="0" indent="0">
              <a:buNone/>
              <a:defRPr sz="800"/>
            </a:lvl1pPr>
            <a:lvl2pPr marL="357542" indent="0">
              <a:buNone/>
              <a:defRPr sz="1000"/>
            </a:lvl2pPr>
            <a:lvl3pPr marL="719982" indent="0">
              <a:buNone/>
              <a:defRPr sz="1000"/>
            </a:lvl3pPr>
            <a:lvl4pPr marL="1081424" indent="0">
              <a:buNone/>
              <a:defRPr sz="1000"/>
            </a:lvl4pPr>
            <a:lvl5pPr marL="1439964" indent="0">
              <a:buNone/>
              <a:defRPr sz="1000"/>
            </a:lvl5pPr>
          </a:lstStyle>
          <a:p>
            <a:pPr lvl="0"/>
            <a:r>
              <a:rPr lang="en-US" dirty="0"/>
              <a:t>Insert Source text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3484351E-5906-1465-ED52-DA75D3630D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5125" y="242888"/>
            <a:ext cx="11460163" cy="43088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62BDBB70-10FD-DDED-C062-9AA92765646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5125" y="694950"/>
            <a:ext cx="11460164" cy="352800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2400" i="0">
                <a:solidFill>
                  <a:schemeClr val="tx1"/>
                </a:solidFill>
                <a:latin typeface="+mn-lt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/>
              <a:t>Click to enter slide subtitle</a:t>
            </a:r>
          </a:p>
        </p:txBody>
      </p:sp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8DBDFC7D-EB75-1C71-FBB6-74679DF5FB23}"/>
              </a:ext>
            </a:extLst>
          </p:cNvPr>
          <p:cNvSpPr/>
          <p:nvPr/>
        </p:nvSpPr>
        <p:spPr>
          <a:xfrm>
            <a:off x="0" y="184645"/>
            <a:ext cx="264043" cy="559397"/>
          </a:xfrm>
          <a:custGeom>
            <a:avLst/>
            <a:gdLst>
              <a:gd name="connsiteX0" fmla="*/ 0 w 857257"/>
              <a:gd name="connsiteY0" fmla="*/ 0 h 1816170"/>
              <a:gd name="connsiteX1" fmla="*/ 841477 w 857257"/>
              <a:gd name="connsiteY1" fmla="*/ 890550 h 1816170"/>
              <a:gd name="connsiteX2" fmla="*/ 841477 w 857257"/>
              <a:gd name="connsiteY2" fmla="*/ 925611 h 1816170"/>
              <a:gd name="connsiteX3" fmla="*/ 0 w 857257"/>
              <a:gd name="connsiteY3" fmla="*/ 1816170 h 1816170"/>
              <a:gd name="connsiteX4" fmla="*/ 0 w 857257"/>
              <a:gd name="connsiteY4" fmla="*/ 0 h 18161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57257" h="1816170">
                <a:moveTo>
                  <a:pt x="0" y="0"/>
                </a:moveTo>
                <a:cubicBezTo>
                  <a:pt x="0" y="462811"/>
                  <a:pt x="301523" y="743293"/>
                  <a:pt x="841477" y="890550"/>
                </a:cubicBezTo>
                <a:cubicBezTo>
                  <a:pt x="862517" y="897560"/>
                  <a:pt x="862517" y="918601"/>
                  <a:pt x="841477" y="925611"/>
                </a:cubicBezTo>
                <a:cubicBezTo>
                  <a:pt x="301523" y="1072868"/>
                  <a:pt x="0" y="1353360"/>
                  <a:pt x="0" y="181617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dirty="0"/>
          </a:p>
        </p:txBody>
      </p:sp>
      <p:sp>
        <p:nvSpPr>
          <p:cNvPr id="2" name="Freeform: Shape 1">
            <a:extLst>
              <a:ext uri="{FF2B5EF4-FFF2-40B4-BE49-F238E27FC236}">
                <a16:creationId xmlns:a16="http://schemas.microsoft.com/office/drawing/2014/main" id="{BB627EE7-29BC-7E7B-5DF4-1D96E07AD3F9}"/>
              </a:ext>
            </a:extLst>
          </p:cNvPr>
          <p:cNvSpPr/>
          <p:nvPr userDrawn="1"/>
        </p:nvSpPr>
        <p:spPr>
          <a:xfrm>
            <a:off x="0" y="184645"/>
            <a:ext cx="264043" cy="559397"/>
          </a:xfrm>
          <a:custGeom>
            <a:avLst/>
            <a:gdLst>
              <a:gd name="connsiteX0" fmla="*/ 0 w 857257"/>
              <a:gd name="connsiteY0" fmla="*/ 0 h 1816170"/>
              <a:gd name="connsiteX1" fmla="*/ 841477 w 857257"/>
              <a:gd name="connsiteY1" fmla="*/ 890550 h 1816170"/>
              <a:gd name="connsiteX2" fmla="*/ 841477 w 857257"/>
              <a:gd name="connsiteY2" fmla="*/ 925611 h 1816170"/>
              <a:gd name="connsiteX3" fmla="*/ 0 w 857257"/>
              <a:gd name="connsiteY3" fmla="*/ 1816170 h 1816170"/>
              <a:gd name="connsiteX4" fmla="*/ 0 w 857257"/>
              <a:gd name="connsiteY4" fmla="*/ 0 h 18161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57257" h="1816170">
                <a:moveTo>
                  <a:pt x="0" y="0"/>
                </a:moveTo>
                <a:cubicBezTo>
                  <a:pt x="0" y="462811"/>
                  <a:pt x="301523" y="743293"/>
                  <a:pt x="841477" y="890550"/>
                </a:cubicBezTo>
                <a:cubicBezTo>
                  <a:pt x="862517" y="897560"/>
                  <a:pt x="862517" y="918601"/>
                  <a:pt x="841477" y="925611"/>
                </a:cubicBezTo>
                <a:cubicBezTo>
                  <a:pt x="301523" y="1072868"/>
                  <a:pt x="0" y="1353360"/>
                  <a:pt x="0" y="181617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5291021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Gradient"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Date Placeholder 9">
            <a:extLst>
              <a:ext uri="{FF2B5EF4-FFF2-40B4-BE49-F238E27FC236}">
                <a16:creationId xmlns:a16="http://schemas.microsoft.com/office/drawing/2014/main" id="{DFB0EC8B-993B-9701-B3D4-2FBFA2652AA7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1B7B165-5683-4F5F-9FF2-907EF7B970C8}" type="datetime4">
              <a:rPr lang="en-GB" smtClean="0"/>
              <a:t>22 September 2025</a:t>
            </a:fld>
            <a:endParaRPr lang="en-GB" dirty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F4B64CB0-473B-DCCB-4EF6-AD2596727230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C70C223B-EC3F-01A9-ECD3-7E6A591C405E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F9F533D-B52E-4A2F-BF72-0ADD2D94BD75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B3466546-C07E-BFBF-4B2F-E4D299013F56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364800" y="5792400"/>
            <a:ext cx="11460164" cy="298800"/>
          </a:xfrm>
        </p:spPr>
        <p:txBody>
          <a:bodyPr lIns="0" tIns="0" rIns="0" bIns="0" anchor="b">
            <a:noAutofit/>
          </a:bodyPr>
          <a:lstStyle>
            <a:lvl1pPr marL="0" indent="0">
              <a:buNone/>
              <a:defRPr sz="800">
                <a:solidFill>
                  <a:schemeClr val="bg1"/>
                </a:solidFill>
              </a:defRPr>
            </a:lvl1pPr>
            <a:lvl2pPr marL="357542" indent="0">
              <a:buNone/>
              <a:defRPr sz="1000"/>
            </a:lvl2pPr>
            <a:lvl3pPr marL="719982" indent="0">
              <a:buNone/>
              <a:defRPr sz="1000"/>
            </a:lvl3pPr>
            <a:lvl4pPr marL="1081424" indent="0">
              <a:buNone/>
              <a:defRPr sz="1000"/>
            </a:lvl4pPr>
            <a:lvl5pPr marL="1439964" indent="0">
              <a:buNone/>
              <a:defRPr sz="1000"/>
            </a:lvl5pPr>
          </a:lstStyle>
          <a:p>
            <a:pPr lvl="0"/>
            <a:r>
              <a:rPr lang="en-US" dirty="0"/>
              <a:t>Insert Source text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70C54E86-8E74-E1E1-9919-BF95D8B21B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5125" y="242888"/>
            <a:ext cx="11460163" cy="43088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4" name="Subtitle 2">
            <a:extLst>
              <a:ext uri="{FF2B5EF4-FFF2-40B4-BE49-F238E27FC236}">
                <a16:creationId xmlns:a16="http://schemas.microsoft.com/office/drawing/2014/main" id="{5936C739-784E-0B16-D78E-DAACEC459BE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5125" y="694950"/>
            <a:ext cx="11460164" cy="352800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2400" i="0">
                <a:solidFill>
                  <a:schemeClr val="bg1"/>
                </a:solidFill>
                <a:latin typeface="+mn-lt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/>
              <a:t>Click to enter slide subtitle</a:t>
            </a:r>
          </a:p>
        </p:txBody>
      </p:sp>
      <p:sp>
        <p:nvSpPr>
          <p:cNvPr id="17" name="Freeform: Shape 16">
            <a:extLst>
              <a:ext uri="{FF2B5EF4-FFF2-40B4-BE49-F238E27FC236}">
                <a16:creationId xmlns:a16="http://schemas.microsoft.com/office/drawing/2014/main" id="{A8BE41CA-ABEC-55CB-D62E-31831DAD300E}"/>
              </a:ext>
            </a:extLst>
          </p:cNvPr>
          <p:cNvSpPr/>
          <p:nvPr/>
        </p:nvSpPr>
        <p:spPr>
          <a:xfrm>
            <a:off x="0" y="184645"/>
            <a:ext cx="264043" cy="559397"/>
          </a:xfrm>
          <a:custGeom>
            <a:avLst/>
            <a:gdLst>
              <a:gd name="connsiteX0" fmla="*/ 0 w 857257"/>
              <a:gd name="connsiteY0" fmla="*/ 0 h 1816170"/>
              <a:gd name="connsiteX1" fmla="*/ 841477 w 857257"/>
              <a:gd name="connsiteY1" fmla="*/ 890550 h 1816170"/>
              <a:gd name="connsiteX2" fmla="*/ 841477 w 857257"/>
              <a:gd name="connsiteY2" fmla="*/ 925611 h 1816170"/>
              <a:gd name="connsiteX3" fmla="*/ 0 w 857257"/>
              <a:gd name="connsiteY3" fmla="*/ 1816170 h 1816170"/>
              <a:gd name="connsiteX4" fmla="*/ 0 w 857257"/>
              <a:gd name="connsiteY4" fmla="*/ 0 h 18161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57257" h="1816170">
                <a:moveTo>
                  <a:pt x="0" y="0"/>
                </a:moveTo>
                <a:cubicBezTo>
                  <a:pt x="0" y="462811"/>
                  <a:pt x="301523" y="743293"/>
                  <a:pt x="841477" y="890550"/>
                </a:cubicBezTo>
                <a:cubicBezTo>
                  <a:pt x="862517" y="897560"/>
                  <a:pt x="862517" y="918601"/>
                  <a:pt x="841477" y="925611"/>
                </a:cubicBezTo>
                <a:cubicBezTo>
                  <a:pt x="301523" y="1072868"/>
                  <a:pt x="0" y="1353360"/>
                  <a:pt x="0" y="181617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dirty="0"/>
          </a:p>
        </p:txBody>
      </p:sp>
      <p:sp>
        <p:nvSpPr>
          <p:cNvPr id="3" name="Freeform: Shape 2">
            <a:extLst>
              <a:ext uri="{FF2B5EF4-FFF2-40B4-BE49-F238E27FC236}">
                <a16:creationId xmlns:a16="http://schemas.microsoft.com/office/drawing/2014/main" id="{354C983F-C815-9C16-5CEE-1598AF9E136F}"/>
              </a:ext>
            </a:extLst>
          </p:cNvPr>
          <p:cNvSpPr/>
          <p:nvPr userDrawn="1"/>
        </p:nvSpPr>
        <p:spPr>
          <a:xfrm>
            <a:off x="0" y="184645"/>
            <a:ext cx="264043" cy="559397"/>
          </a:xfrm>
          <a:custGeom>
            <a:avLst/>
            <a:gdLst>
              <a:gd name="connsiteX0" fmla="*/ 0 w 857257"/>
              <a:gd name="connsiteY0" fmla="*/ 0 h 1816170"/>
              <a:gd name="connsiteX1" fmla="*/ 841477 w 857257"/>
              <a:gd name="connsiteY1" fmla="*/ 890550 h 1816170"/>
              <a:gd name="connsiteX2" fmla="*/ 841477 w 857257"/>
              <a:gd name="connsiteY2" fmla="*/ 925611 h 1816170"/>
              <a:gd name="connsiteX3" fmla="*/ 0 w 857257"/>
              <a:gd name="connsiteY3" fmla="*/ 1816170 h 1816170"/>
              <a:gd name="connsiteX4" fmla="*/ 0 w 857257"/>
              <a:gd name="connsiteY4" fmla="*/ 0 h 18161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57257" h="1816170">
                <a:moveTo>
                  <a:pt x="0" y="0"/>
                </a:moveTo>
                <a:cubicBezTo>
                  <a:pt x="0" y="462811"/>
                  <a:pt x="301523" y="743293"/>
                  <a:pt x="841477" y="890550"/>
                </a:cubicBezTo>
                <a:cubicBezTo>
                  <a:pt x="862517" y="897560"/>
                  <a:pt x="862517" y="918601"/>
                  <a:pt x="841477" y="925611"/>
                </a:cubicBezTo>
                <a:cubicBezTo>
                  <a:pt x="301523" y="1072868"/>
                  <a:pt x="0" y="1353360"/>
                  <a:pt x="0" y="181617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dirty="0"/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4BD38D92-B4FE-EBC2-768A-73D41DCBE6A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 l="7328" t="12162" r="1499" b="12843"/>
          <a:stretch/>
        </p:blipFill>
        <p:spPr>
          <a:xfrm>
            <a:off x="10847037" y="6191252"/>
            <a:ext cx="1215582" cy="563804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7213274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B0C3EA56-5111-4037-9D95-99472C98B37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8AF44B5-6D56-4B59-9C1D-2022F9BFF5DA}" type="datetime4">
              <a:rPr lang="en-GB" smtClean="0"/>
              <a:t>22 September 2025</a:t>
            </a:fld>
            <a:endParaRPr lang="en-GB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D0CE7BCF-23E0-421B-8A21-1CDDB167314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B1F21D1-F1DD-4945-8EF8-43393EDC3F6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F9F533D-B52E-4A2F-BF72-0ADD2D94BD75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2A2858F-078E-2E59-C8A6-5102082DA34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65125" y="5792400"/>
            <a:ext cx="11460164" cy="298800"/>
          </a:xfrm>
        </p:spPr>
        <p:txBody>
          <a:bodyPr lIns="0" tIns="0" rIns="0" bIns="0" anchor="b">
            <a:noAutofit/>
          </a:bodyPr>
          <a:lstStyle>
            <a:lvl1pPr marL="0" indent="0">
              <a:buNone/>
              <a:defRPr sz="800"/>
            </a:lvl1pPr>
            <a:lvl2pPr marL="357542" indent="0">
              <a:buNone/>
              <a:defRPr sz="1000"/>
            </a:lvl2pPr>
            <a:lvl3pPr marL="719982" indent="0">
              <a:buNone/>
              <a:defRPr sz="1000"/>
            </a:lvl3pPr>
            <a:lvl4pPr marL="1081424" indent="0">
              <a:buNone/>
              <a:defRPr sz="1000"/>
            </a:lvl4pPr>
            <a:lvl5pPr marL="1439964" indent="0">
              <a:buNone/>
              <a:defRPr sz="1000"/>
            </a:lvl5pPr>
          </a:lstStyle>
          <a:p>
            <a:pPr lvl="0"/>
            <a:r>
              <a:rPr lang="en-US" dirty="0"/>
              <a:t>Insert Source text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6735104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1">
    <p:bg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2E210B85-691C-7298-6DB6-61C25A5191F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761153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25" imgH="424" progId="TCLayout.ActiveDocument.1">
                  <p:embed/>
                </p:oleObj>
              </mc:Choice>
              <mc:Fallback>
                <p:oleObj name="think-cell Slide" r:id="rId5" imgW="425" imgH="42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2E210B85-691C-7298-6DB6-61C25A5191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1">
            <a:extLst>
              <a:ext uri="{FF2B5EF4-FFF2-40B4-BE49-F238E27FC236}">
                <a16:creationId xmlns:a16="http://schemas.microsoft.com/office/drawing/2014/main" id="{1F7EFD61-0B79-2619-1483-7B804B2C82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5125" y="3235800"/>
            <a:ext cx="11460163" cy="1260000"/>
          </a:xfrm>
        </p:spPr>
        <p:txBody>
          <a:bodyPr vert="horz">
            <a:noAutofit/>
          </a:bodyPr>
          <a:lstStyle>
            <a:lvl1pPr>
              <a:defRPr sz="3600"/>
            </a:lvl1pPr>
          </a:lstStyle>
          <a:p>
            <a:r>
              <a:rPr lang="en-US" dirty="0"/>
              <a:t>Click to enter section header title</a:t>
            </a:r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BBC9BD8C-031D-7F0A-C46B-D38FB013678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5125" y="4514654"/>
            <a:ext cx="11460164" cy="475200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2800" i="0">
                <a:solidFill>
                  <a:schemeClr val="tx2"/>
                </a:solidFill>
                <a:latin typeface="+mn-lt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/>
              <a:t>Click to enter section subtitle</a:t>
            </a: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0B01FA46-1D8D-93AD-9A24-7740D438F0BA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437175" y="5967611"/>
            <a:ext cx="1401150" cy="422366"/>
          </a:xfrm>
          <a:prstGeom prst="rect">
            <a:avLst/>
          </a:prstGeom>
        </p:spPr>
      </p:pic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B465F7C9-2DD0-029B-C39C-E172165ABDA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761153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25" imgH="424" progId="TCLayout.ActiveDocument.1">
                  <p:embed/>
                </p:oleObj>
              </mc:Choice>
              <mc:Fallback>
                <p:oleObj name="think-cell Slide" r:id="rId5" imgW="425" imgH="42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B465F7C9-2DD0-029B-C39C-E172165ABDA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Graphic 3">
            <a:extLst>
              <a:ext uri="{FF2B5EF4-FFF2-40B4-BE49-F238E27FC236}">
                <a16:creationId xmlns:a16="http://schemas.microsoft.com/office/drawing/2014/main" id="{3C8C0300-5E34-01FA-8DA8-816FE17514CD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437175" y="5967611"/>
            <a:ext cx="1401150" cy="4223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089196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2">
    <p:bg>
      <p:bgPr>
        <a:blipFill dpi="0" rotWithShape="1">
          <a:blip r:embed="rId5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8276E86-C9B6-1B20-0470-A93E9FE7680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363470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425" imgH="424" progId="TCLayout.ActiveDocument.1">
                  <p:embed/>
                </p:oleObj>
              </mc:Choice>
              <mc:Fallback>
                <p:oleObj name="think-cell Slide" r:id="rId6" imgW="425" imgH="42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8276E86-C9B6-1B20-0470-A93E9FE7680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1">
            <a:extLst>
              <a:ext uri="{FF2B5EF4-FFF2-40B4-BE49-F238E27FC236}">
                <a16:creationId xmlns:a16="http://schemas.microsoft.com/office/drawing/2014/main" id="{7905DD1F-ADCE-21F5-3B42-348B73562E7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5125" y="3235800"/>
            <a:ext cx="8651875" cy="1260000"/>
          </a:xfrm>
        </p:spPr>
        <p:txBody>
          <a:bodyPr vert="horz"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nter section header title</a:t>
            </a:r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1A65F606-CDCB-0367-61AA-199FECCB3A7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5125" y="4514654"/>
            <a:ext cx="8651876" cy="475200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2800" i="0">
                <a:solidFill>
                  <a:schemeClr val="bg1"/>
                </a:solidFill>
                <a:latin typeface="+mn-lt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/>
              <a:t>Click to enter section subtitle</a:t>
            </a:r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FE066BEF-B097-8826-7B68-974384A3DA4A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rcRect l="13772" t="25173" r="16016" b="28870"/>
          <a:stretch/>
        </p:blipFill>
        <p:spPr>
          <a:xfrm>
            <a:off x="322824" y="5861243"/>
            <a:ext cx="1586940" cy="585704"/>
          </a:xfrm>
          <a:prstGeom prst="rect">
            <a:avLst/>
          </a:prstGeom>
        </p:spPr>
      </p:pic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C974C1E3-F673-6C02-80D2-918CC00E2B0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40363470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425" imgH="424" progId="TCLayout.ActiveDocument.1">
                  <p:embed/>
                </p:oleObj>
              </mc:Choice>
              <mc:Fallback>
                <p:oleObj name="think-cell Slide" r:id="rId6" imgW="425" imgH="42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C974C1E3-F673-6C02-80D2-918CC00E2B0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Graphic 3">
            <a:extLst>
              <a:ext uri="{FF2B5EF4-FFF2-40B4-BE49-F238E27FC236}">
                <a16:creationId xmlns:a16="http://schemas.microsoft.com/office/drawing/2014/main" id="{B5553F47-A3E3-7613-63E9-F408F27A9BD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rcRect l="13772" t="25173" r="16016" b="28870"/>
          <a:stretch/>
        </p:blipFill>
        <p:spPr>
          <a:xfrm>
            <a:off x="322824" y="5861243"/>
            <a:ext cx="1586940" cy="585704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4711872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losing"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phic 5">
            <a:extLst>
              <a:ext uri="{FF2B5EF4-FFF2-40B4-BE49-F238E27FC236}">
                <a16:creationId xmlns:a16="http://schemas.microsoft.com/office/drawing/2014/main" id="{1B20AFD6-6925-491B-B024-5E0A32A58D07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 l="17590" t="25173" r="17185" b="31039"/>
          <a:stretch/>
        </p:blipFill>
        <p:spPr>
          <a:xfrm>
            <a:off x="152399" y="2073890"/>
            <a:ext cx="11992273" cy="4539635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2B90B266-F3BD-2613-5CB9-7E4A4FDFC416}"/>
              </a:ext>
            </a:extLst>
          </p:cNvPr>
          <p:cNvSpPr/>
          <p:nvPr/>
        </p:nvSpPr>
        <p:spPr bwMode="auto">
          <a:xfrm>
            <a:off x="11039475" y="164305"/>
            <a:ext cx="862012" cy="317500"/>
          </a:xfrm>
          <a:prstGeom prst="rect">
            <a:avLst/>
          </a:prstGeom>
          <a:noFill/>
          <a:ln>
            <a:noFill/>
            <a:headEnd/>
            <a:tailEnd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r" eaLnBrk="0" fontAlgn="auto" hangingPunct="0"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Font typeface="Arial" pitchFamily="34" charset="0"/>
              <a:buNone/>
            </a:pPr>
            <a:r>
              <a:rPr lang="en-GB" sz="1000" b="1" kern="0" dirty="0">
                <a:solidFill>
                  <a:srgbClr val="FFFFFF"/>
                </a:solidFill>
                <a:latin typeface="+mn-lt"/>
              </a:rPr>
              <a:t>gsk.com</a:t>
            </a:r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FF8659A8-C764-F3A5-40B7-A3CB7A35D235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1094470" y="243283"/>
            <a:ext cx="159543" cy="159543"/>
          </a:xfrm>
          <a:prstGeom prst="rect">
            <a:avLst/>
          </a:prstGeom>
        </p:spPr>
      </p:pic>
      <p:pic>
        <p:nvPicPr>
          <p:cNvPr id="4" name="Graphic 3">
            <a:extLst>
              <a:ext uri="{FF2B5EF4-FFF2-40B4-BE49-F238E27FC236}">
                <a16:creationId xmlns:a16="http://schemas.microsoft.com/office/drawing/2014/main" id="{2A31EE88-6D6C-D069-3146-A339C960163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 l="17590" t="25173" r="17185" b="31039"/>
          <a:stretch/>
        </p:blipFill>
        <p:spPr>
          <a:xfrm>
            <a:off x="152399" y="2073890"/>
            <a:ext cx="11992273" cy="4539635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7445B33E-2C66-175D-1B1C-7BB81E21C5EE}"/>
              </a:ext>
            </a:extLst>
          </p:cNvPr>
          <p:cNvSpPr/>
          <p:nvPr userDrawn="1"/>
        </p:nvSpPr>
        <p:spPr bwMode="auto">
          <a:xfrm>
            <a:off x="11039475" y="164305"/>
            <a:ext cx="862012" cy="317500"/>
          </a:xfrm>
          <a:prstGeom prst="rect">
            <a:avLst/>
          </a:prstGeom>
          <a:noFill/>
          <a:ln>
            <a:noFill/>
            <a:headEnd/>
            <a:tailEnd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r" eaLnBrk="0" fontAlgn="auto" hangingPunct="0"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Font typeface="Arial" pitchFamily="34" charset="0"/>
              <a:buNone/>
            </a:pPr>
            <a:r>
              <a:rPr lang="en-GB" sz="1000" b="1" kern="0" dirty="0">
                <a:solidFill>
                  <a:srgbClr val="FFFFFF"/>
                </a:solidFill>
                <a:latin typeface="+mn-lt"/>
              </a:rPr>
              <a:t>gsk.com</a:t>
            </a: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E7BF19C8-4ECE-0C1F-50D8-D1CBA751078F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1094470" y="243283"/>
            <a:ext cx="159543" cy="159543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8792654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DIA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Rectangle 28">
            <a:extLst>
              <a:ext uri="{FF2B5EF4-FFF2-40B4-BE49-F238E27FC236}">
                <a16:creationId xmlns:a16="http://schemas.microsoft.com/office/drawing/2014/main" id="{4A717EDF-9AA4-491F-3311-9F14A5CFB89C}"/>
              </a:ext>
            </a:extLst>
          </p:cNvPr>
          <p:cNvSpPr/>
          <p:nvPr/>
        </p:nvSpPr>
        <p:spPr bwMode="auto">
          <a:xfrm>
            <a:off x="523973" y="6107998"/>
            <a:ext cx="1806576" cy="50552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/>
            <a:tailEnd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fontAlgn="auto" hangingPunct="0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</a:pPr>
            <a:r>
              <a:rPr lang="en-US" sz="1800" b="1" dirty="0">
                <a:solidFill>
                  <a:schemeClr val="tx2"/>
                </a:solidFill>
              </a:rPr>
              <a:t>Owner</a:t>
            </a: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D4AC67F3-7D0E-A071-327B-17B446179DB8}"/>
              </a:ext>
            </a:extLst>
          </p:cNvPr>
          <p:cNvSpPr/>
          <p:nvPr/>
        </p:nvSpPr>
        <p:spPr bwMode="auto">
          <a:xfrm>
            <a:off x="523973" y="4557510"/>
            <a:ext cx="1806576" cy="147360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/>
            <a:tailEnd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12600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eaLnBrk="0" fontAlgn="auto" hangingPunct="0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</a:pPr>
            <a:r>
              <a:rPr lang="en-US" sz="1800" b="1" dirty="0">
                <a:solidFill>
                  <a:schemeClr val="tx2"/>
                </a:solidFill>
              </a:rPr>
              <a:t>Objectives</a:t>
            </a:r>
          </a:p>
        </p:txBody>
      </p:sp>
      <p:sp>
        <p:nvSpPr>
          <p:cNvPr id="25" name="Text Placeholder 24">
            <a:extLst>
              <a:ext uri="{FF2B5EF4-FFF2-40B4-BE49-F238E27FC236}">
                <a16:creationId xmlns:a16="http://schemas.microsoft.com/office/drawing/2014/main" id="{4E30BA3B-88CD-41DE-E089-7100E3E52AF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407432" y="4557510"/>
            <a:ext cx="9414362" cy="147360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lIns="180000" tIns="144000" rIns="180000" bIns="72000" anchor="t" anchorCtr="0">
            <a:noAutofit/>
          </a:bodyPr>
          <a:lstStyle>
            <a:lvl1pPr marL="342900" indent="-342900">
              <a:spcBef>
                <a:spcPts val="300"/>
              </a:spcBef>
              <a:spcAft>
                <a:spcPts val="300"/>
              </a:spcAft>
              <a:buSzPct val="100000"/>
              <a:buFont typeface="+mj-lt"/>
              <a:buAutoNum type="arabicPeriod"/>
              <a:defRPr sz="1200"/>
            </a:lvl1pPr>
            <a:lvl2pPr marL="357542" indent="0">
              <a:buNone/>
              <a:defRPr/>
            </a:lvl2pPr>
          </a:lstStyle>
          <a:p>
            <a:pPr lvl="0"/>
            <a:r>
              <a:rPr lang="en-US" dirty="0"/>
              <a:t>DECISION: To seek X’s [single point accountable decision maker] decision to implement A</a:t>
            </a:r>
            <a:br>
              <a:rPr lang="en-US" dirty="0"/>
            </a:br>
            <a:r>
              <a:rPr lang="en-US" dirty="0"/>
              <a:t>INPUT: To receive input to the proposed plan for B</a:t>
            </a:r>
            <a:br>
              <a:rPr lang="en-US" dirty="0"/>
            </a:br>
            <a:r>
              <a:rPr lang="en-US" dirty="0"/>
              <a:t>AWARENESS: To update XXX regarding C</a:t>
            </a:r>
          </a:p>
        </p:txBody>
      </p:sp>
      <p:sp>
        <p:nvSpPr>
          <p:cNvPr id="31" name="Text Placeholder 30">
            <a:extLst>
              <a:ext uri="{FF2B5EF4-FFF2-40B4-BE49-F238E27FC236}">
                <a16:creationId xmlns:a16="http://schemas.microsoft.com/office/drawing/2014/main" id="{DC6E06B6-BD9A-7A5E-5A90-56308009FF5E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2407432" y="6107998"/>
            <a:ext cx="9414362" cy="50552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lIns="180000" tIns="72000" rIns="180000" bIns="72000" anchor="ctr" anchorCtr="0">
            <a:noAutofit/>
          </a:bodyPr>
          <a:lstStyle>
            <a:lvl1pPr marL="0" indent="0">
              <a:buFont typeface="+mj-lt"/>
              <a:buNone/>
              <a:defRPr sz="1200"/>
            </a:lvl1pPr>
            <a:lvl2pPr marL="357542" indent="0">
              <a:buNone/>
              <a:defRPr/>
            </a:lvl2pPr>
          </a:lstStyle>
          <a:p>
            <a:pPr lvl="0"/>
            <a:r>
              <a:rPr lang="en-US" dirty="0"/>
              <a:t>Single person accountable for this topic / paper</a:t>
            </a:r>
          </a:p>
        </p:txBody>
      </p:sp>
      <p:sp>
        <p:nvSpPr>
          <p:cNvPr id="23" name="Text Placeholder 6">
            <a:extLst>
              <a:ext uri="{FF2B5EF4-FFF2-40B4-BE49-F238E27FC236}">
                <a16:creationId xmlns:a16="http://schemas.microsoft.com/office/drawing/2014/main" id="{472F201F-277F-F24E-085D-8160B5FF4CE6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523973" y="4990763"/>
            <a:ext cx="1806576" cy="1040352"/>
          </a:xfrm>
          <a:prstGeom prst="rect">
            <a:avLst/>
          </a:prstGeom>
          <a:noFill/>
          <a:ln>
            <a:noFill/>
          </a:ln>
        </p:spPr>
        <p:txBody>
          <a:bodyPr lIns="72000" tIns="0" rIns="0" bIns="0" anchor="ctr" anchorCtr="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+mj-lt"/>
              <a:buNone/>
              <a:defRPr sz="1200">
                <a:solidFill>
                  <a:schemeClr val="bg2"/>
                </a:solidFill>
              </a:defRPr>
            </a:lvl1pPr>
            <a:lvl2pPr marL="357542" indent="0">
              <a:buNone/>
              <a:defRPr/>
            </a:lvl2pPr>
          </a:lstStyle>
          <a:p>
            <a:pPr lvl="0"/>
            <a:r>
              <a:rPr lang="en-US" dirty="0"/>
              <a:t>Up to 5 clear, focused objectives </a:t>
            </a:r>
            <a:br>
              <a:rPr lang="en-US" dirty="0"/>
            </a:br>
            <a:r>
              <a:rPr lang="en-US" dirty="0"/>
              <a:t>(</a:t>
            </a:r>
            <a:r>
              <a:rPr lang="en-US" dirty="0" err="1"/>
              <a:t>i</a:t>
            </a:r>
            <a:r>
              <a:rPr lang="en-US" dirty="0"/>
              <a:t>) for decision, </a:t>
            </a:r>
            <a:br>
              <a:rPr lang="en-US" dirty="0"/>
            </a:br>
            <a:r>
              <a:rPr lang="en-US" dirty="0"/>
              <a:t>(ii) for input </a:t>
            </a:r>
            <a:br>
              <a:rPr lang="en-US" dirty="0"/>
            </a:br>
            <a:r>
              <a:rPr lang="en-US" dirty="0"/>
              <a:t>(iii) for awareness</a:t>
            </a:r>
          </a:p>
        </p:txBody>
      </p:sp>
      <p:sp>
        <p:nvSpPr>
          <p:cNvPr id="52" name="Freeform: Shape 51">
            <a:extLst>
              <a:ext uri="{FF2B5EF4-FFF2-40B4-BE49-F238E27FC236}">
                <a16:creationId xmlns:a16="http://schemas.microsoft.com/office/drawing/2014/main" id="{4E683597-5ADE-F2A0-A01C-FD8E476ABB8B}"/>
              </a:ext>
            </a:extLst>
          </p:cNvPr>
          <p:cNvSpPr/>
          <p:nvPr/>
        </p:nvSpPr>
        <p:spPr>
          <a:xfrm>
            <a:off x="0" y="4842854"/>
            <a:ext cx="426190" cy="902918"/>
          </a:xfrm>
          <a:custGeom>
            <a:avLst/>
            <a:gdLst>
              <a:gd name="connsiteX0" fmla="*/ 0 w 857257"/>
              <a:gd name="connsiteY0" fmla="*/ 0 h 1816170"/>
              <a:gd name="connsiteX1" fmla="*/ 841477 w 857257"/>
              <a:gd name="connsiteY1" fmla="*/ 890550 h 1816170"/>
              <a:gd name="connsiteX2" fmla="*/ 841477 w 857257"/>
              <a:gd name="connsiteY2" fmla="*/ 925611 h 1816170"/>
              <a:gd name="connsiteX3" fmla="*/ 0 w 857257"/>
              <a:gd name="connsiteY3" fmla="*/ 1816170 h 1816170"/>
              <a:gd name="connsiteX4" fmla="*/ 0 w 857257"/>
              <a:gd name="connsiteY4" fmla="*/ 0 h 18161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57257" h="1816170">
                <a:moveTo>
                  <a:pt x="0" y="0"/>
                </a:moveTo>
                <a:cubicBezTo>
                  <a:pt x="0" y="462811"/>
                  <a:pt x="301523" y="743293"/>
                  <a:pt x="841477" y="890550"/>
                </a:cubicBezTo>
                <a:cubicBezTo>
                  <a:pt x="862517" y="897560"/>
                  <a:pt x="862517" y="918601"/>
                  <a:pt x="841477" y="925611"/>
                </a:cubicBezTo>
                <a:cubicBezTo>
                  <a:pt x="301523" y="1072868"/>
                  <a:pt x="0" y="1353360"/>
                  <a:pt x="0" y="181617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dirty="0"/>
          </a:p>
        </p:txBody>
      </p:sp>
      <p:sp>
        <p:nvSpPr>
          <p:cNvPr id="22" name="Text Placeholder 8">
            <a:extLst>
              <a:ext uri="{FF2B5EF4-FFF2-40B4-BE49-F238E27FC236}">
                <a16:creationId xmlns:a16="http://schemas.microsoft.com/office/drawing/2014/main" id="{7A99F019-A435-B954-ABA9-68CA4DD19B21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01650" y="230188"/>
            <a:ext cx="1817688" cy="163512"/>
          </a:xfrm>
        </p:spPr>
        <p:txBody>
          <a:bodyPr lIns="0" tIns="72000" rIns="0" bIns="72000" anchor="ctr">
            <a:noAutofit/>
          </a:bodyPr>
          <a:lstStyle>
            <a:lvl1pPr marL="0" indent="0">
              <a:buNone/>
              <a:defRPr sz="1000" b="1">
                <a:solidFill>
                  <a:schemeClr val="tx2"/>
                </a:solidFill>
              </a:defRPr>
            </a:lvl1pPr>
            <a:lvl2pPr marL="357542" indent="0">
              <a:buNone/>
              <a:defRPr>
                <a:solidFill>
                  <a:schemeClr val="bg1"/>
                </a:solidFill>
              </a:defRPr>
            </a:lvl2pPr>
            <a:lvl3pPr marL="719982" indent="0">
              <a:buNone/>
              <a:defRPr>
                <a:solidFill>
                  <a:schemeClr val="bg1"/>
                </a:solidFill>
              </a:defRPr>
            </a:lvl3pPr>
            <a:lvl4pPr marL="1081424" indent="0">
              <a:buNone/>
              <a:defRPr>
                <a:solidFill>
                  <a:schemeClr val="bg1"/>
                </a:solidFill>
              </a:defRPr>
            </a:lvl4pPr>
            <a:lvl5pPr marL="1439964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insert date</a:t>
            </a:r>
          </a:p>
        </p:txBody>
      </p:sp>
      <p:pic>
        <p:nvPicPr>
          <p:cNvPr id="3" name="Picture 2" descr="Icon&#10;&#10;Description automatically generated with medium confidence">
            <a:extLst>
              <a:ext uri="{FF2B5EF4-FFF2-40B4-BE49-F238E27FC236}">
                <a16:creationId xmlns:a16="http://schemas.microsoft.com/office/drawing/2014/main" id="{81F87534-B1D7-C46B-9E66-8AC884393086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65064" y="0"/>
            <a:ext cx="1499542" cy="1500405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F768B13C-C35B-6F45-C01B-3C6267B26CED}"/>
              </a:ext>
            </a:extLst>
          </p:cNvPr>
          <p:cNvSpPr/>
          <p:nvPr userDrawn="1"/>
        </p:nvSpPr>
        <p:spPr bwMode="auto">
          <a:xfrm>
            <a:off x="523973" y="6107998"/>
            <a:ext cx="1806576" cy="50552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/>
            <a:tailEnd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fontAlgn="auto" hangingPunct="0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</a:pPr>
            <a:r>
              <a:rPr lang="en-US" sz="1800" b="1" dirty="0">
                <a:solidFill>
                  <a:schemeClr val="tx2"/>
                </a:solidFill>
              </a:rPr>
              <a:t>Owner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C07EAF8D-F928-6A87-2D9C-669CBF910AF3}"/>
              </a:ext>
            </a:extLst>
          </p:cNvPr>
          <p:cNvSpPr/>
          <p:nvPr userDrawn="1"/>
        </p:nvSpPr>
        <p:spPr bwMode="auto">
          <a:xfrm>
            <a:off x="523973" y="4557510"/>
            <a:ext cx="1806576" cy="147360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/>
            <a:tailEnd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12600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eaLnBrk="0" fontAlgn="auto" hangingPunct="0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</a:pPr>
            <a:r>
              <a:rPr lang="en-US" sz="1800" b="1" dirty="0">
                <a:solidFill>
                  <a:schemeClr val="tx2"/>
                </a:solidFill>
              </a:rPr>
              <a:t>Objectives</a:t>
            </a:r>
          </a:p>
        </p:txBody>
      </p:sp>
      <p:sp>
        <p:nvSpPr>
          <p:cNvPr id="5" name="Freeform: Shape 4">
            <a:extLst>
              <a:ext uri="{FF2B5EF4-FFF2-40B4-BE49-F238E27FC236}">
                <a16:creationId xmlns:a16="http://schemas.microsoft.com/office/drawing/2014/main" id="{955555DC-AF4D-D959-E8F8-8DAA516CC473}"/>
              </a:ext>
            </a:extLst>
          </p:cNvPr>
          <p:cNvSpPr/>
          <p:nvPr userDrawn="1"/>
        </p:nvSpPr>
        <p:spPr>
          <a:xfrm>
            <a:off x="0" y="4842854"/>
            <a:ext cx="426190" cy="902918"/>
          </a:xfrm>
          <a:custGeom>
            <a:avLst/>
            <a:gdLst>
              <a:gd name="connsiteX0" fmla="*/ 0 w 857257"/>
              <a:gd name="connsiteY0" fmla="*/ 0 h 1816170"/>
              <a:gd name="connsiteX1" fmla="*/ 841477 w 857257"/>
              <a:gd name="connsiteY1" fmla="*/ 890550 h 1816170"/>
              <a:gd name="connsiteX2" fmla="*/ 841477 w 857257"/>
              <a:gd name="connsiteY2" fmla="*/ 925611 h 1816170"/>
              <a:gd name="connsiteX3" fmla="*/ 0 w 857257"/>
              <a:gd name="connsiteY3" fmla="*/ 1816170 h 1816170"/>
              <a:gd name="connsiteX4" fmla="*/ 0 w 857257"/>
              <a:gd name="connsiteY4" fmla="*/ 0 h 18161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57257" h="1816170">
                <a:moveTo>
                  <a:pt x="0" y="0"/>
                </a:moveTo>
                <a:cubicBezTo>
                  <a:pt x="0" y="462811"/>
                  <a:pt x="301523" y="743293"/>
                  <a:pt x="841477" y="890550"/>
                </a:cubicBezTo>
                <a:cubicBezTo>
                  <a:pt x="862517" y="897560"/>
                  <a:pt x="862517" y="918601"/>
                  <a:pt x="841477" y="925611"/>
                </a:cubicBezTo>
                <a:cubicBezTo>
                  <a:pt x="301523" y="1072868"/>
                  <a:pt x="0" y="1353360"/>
                  <a:pt x="0" y="181617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dirty="0"/>
          </a:p>
        </p:txBody>
      </p:sp>
      <p:pic>
        <p:nvPicPr>
          <p:cNvPr id="6" name="Picture 5" descr="Icon&#10;&#10;Description automatically generated with medium confidence">
            <a:extLst>
              <a:ext uri="{FF2B5EF4-FFF2-40B4-BE49-F238E27FC236}">
                <a16:creationId xmlns:a16="http://schemas.microsoft.com/office/drawing/2014/main" id="{3E07F268-9821-E4F1-853E-B3387EEAED7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65064" y="0"/>
            <a:ext cx="1499542" cy="1500405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550517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WARNING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9B03810C-0168-8013-6BD1-DF4493DB8F41}"/>
              </a:ext>
            </a:extLst>
          </p:cNvPr>
          <p:cNvSpPr/>
          <p:nvPr/>
        </p:nvSpPr>
        <p:spPr bwMode="auto">
          <a:xfrm>
            <a:off x="242888" y="242888"/>
            <a:ext cx="11704637" cy="5848350"/>
          </a:xfrm>
          <a:prstGeom prst="rect">
            <a:avLst/>
          </a:prstGeom>
          <a:noFill/>
          <a:ln>
            <a:noFill/>
            <a:headEnd/>
            <a:tailEnd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0000" tIns="180000" rIns="180000" bIns="18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fontAlgn="auto" hangingPunct="0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</a:pPr>
            <a:r>
              <a:rPr lang="en-GB" sz="9600" kern="0" dirty="0">
                <a:solidFill>
                  <a:schemeClr val="bg1"/>
                </a:solidFill>
              </a:rPr>
              <a:t>Do not use </a:t>
            </a:r>
            <a:br>
              <a:rPr lang="en-GB" sz="9600" kern="0" dirty="0">
                <a:solidFill>
                  <a:schemeClr val="bg1"/>
                </a:solidFill>
              </a:rPr>
            </a:br>
            <a:r>
              <a:rPr lang="en-GB" sz="9600" kern="0" dirty="0">
                <a:solidFill>
                  <a:schemeClr val="bg1"/>
                </a:solidFill>
              </a:rPr>
              <a:t>layouts that appear </a:t>
            </a:r>
            <a:br>
              <a:rPr lang="en-GB" sz="9600" kern="0" dirty="0">
                <a:solidFill>
                  <a:schemeClr val="bg1"/>
                </a:solidFill>
              </a:rPr>
            </a:br>
            <a:r>
              <a:rPr lang="en-GB" sz="9600" kern="0" dirty="0">
                <a:solidFill>
                  <a:schemeClr val="bg1"/>
                </a:solidFill>
              </a:rPr>
              <a:t>after this point</a:t>
            </a:r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1AFE542C-8ECE-F9C9-8F96-80B2751FAA98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 l="7328" t="12162" r="1499" b="12843"/>
          <a:stretch/>
        </p:blipFill>
        <p:spPr>
          <a:xfrm>
            <a:off x="90711" y="6207919"/>
            <a:ext cx="1215582" cy="563804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D971DFFD-2455-676B-AE64-9BFFC5437EDC}"/>
              </a:ext>
            </a:extLst>
          </p:cNvPr>
          <p:cNvSpPr/>
          <p:nvPr userDrawn="1"/>
        </p:nvSpPr>
        <p:spPr bwMode="auto">
          <a:xfrm>
            <a:off x="242888" y="242888"/>
            <a:ext cx="11704637" cy="5848350"/>
          </a:xfrm>
          <a:prstGeom prst="rect">
            <a:avLst/>
          </a:prstGeom>
          <a:noFill/>
          <a:ln>
            <a:noFill/>
            <a:headEnd/>
            <a:tailEnd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0000" tIns="180000" rIns="180000" bIns="18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fontAlgn="auto" hangingPunct="0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</a:pPr>
            <a:r>
              <a:rPr lang="en-GB" sz="9600" kern="0" dirty="0">
                <a:solidFill>
                  <a:schemeClr val="bg1"/>
                </a:solidFill>
              </a:rPr>
              <a:t>Do not use </a:t>
            </a:r>
            <a:br>
              <a:rPr lang="en-GB" sz="9600" kern="0" dirty="0">
                <a:solidFill>
                  <a:schemeClr val="bg1"/>
                </a:solidFill>
              </a:rPr>
            </a:br>
            <a:r>
              <a:rPr lang="en-GB" sz="9600" kern="0" dirty="0">
                <a:solidFill>
                  <a:schemeClr val="bg1"/>
                </a:solidFill>
              </a:rPr>
              <a:t>layouts that appear </a:t>
            </a:r>
            <a:br>
              <a:rPr lang="en-GB" sz="9600" kern="0" dirty="0">
                <a:solidFill>
                  <a:schemeClr val="bg1"/>
                </a:solidFill>
              </a:rPr>
            </a:br>
            <a:r>
              <a:rPr lang="en-GB" sz="9600" kern="0" dirty="0">
                <a:solidFill>
                  <a:schemeClr val="bg1"/>
                </a:solidFill>
              </a:rPr>
              <a:t>after this point</a:t>
            </a:r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49D3E439-CEEB-5A25-B0DB-B35AA868A58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 l="7328" t="12162" r="1499" b="12843"/>
          <a:stretch/>
        </p:blipFill>
        <p:spPr>
          <a:xfrm>
            <a:off x="90711" y="6207919"/>
            <a:ext cx="1215582" cy="563804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2568905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2" name="Straight Connector 11"/>
          <p:cNvCxnSpPr/>
          <p:nvPr userDrawn="1"/>
        </p:nvCxnSpPr>
        <p:spPr>
          <a:xfrm>
            <a:off x="478871" y="6132244"/>
            <a:ext cx="112320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ctr"/>
            <a:r>
              <a:rPr lang="en-US"/>
              <a:t>Insert your date / confidentiality text here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16x9 presentation kit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F9F533D-B52E-4A2F-BF72-0ADD2D94BD75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67412885"/>
      </p:ext>
    </p:extLst>
  </p:cSld>
  <p:clrMapOvr>
    <a:masterClrMapping/>
  </p:clrMapOvr>
  <p:transition spd="slow">
    <p:push dir="u"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2E57A6D-CCB0-DF2D-0D9A-6184CE39694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C42BDB7-A7FE-AA4E-3952-EBCCAC237C9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F9F533D-B52E-4A2F-BF72-0ADD2D94BD75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76D6505-B9A2-3A36-B9B6-3E3CF07A64AF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r>
              <a:rPr lang="en-GB"/>
              <a:t>Communications Toolkit 2024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4B3924AB-56D4-343D-306B-195A924E9EF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65125" y="5792400"/>
            <a:ext cx="11460164" cy="298800"/>
          </a:xfrm>
        </p:spPr>
        <p:txBody>
          <a:bodyPr lIns="0" tIns="0" rIns="0" bIns="0" anchor="b">
            <a:noAutofit/>
          </a:bodyPr>
          <a:lstStyle>
            <a:lvl1pPr marL="0" indent="0">
              <a:buNone/>
              <a:defRPr sz="800"/>
            </a:lvl1pPr>
            <a:lvl2pPr marL="357542" indent="0">
              <a:buNone/>
              <a:defRPr sz="1000"/>
            </a:lvl2pPr>
            <a:lvl3pPr marL="719982" indent="0">
              <a:buNone/>
              <a:defRPr sz="1000"/>
            </a:lvl3pPr>
            <a:lvl4pPr marL="1081424" indent="0">
              <a:buNone/>
              <a:defRPr sz="1000"/>
            </a:lvl4pPr>
            <a:lvl5pPr marL="1439964" indent="0">
              <a:buNone/>
              <a:defRPr sz="1000"/>
            </a:lvl5pPr>
          </a:lstStyle>
          <a:p>
            <a:pPr lvl="0"/>
            <a:r>
              <a:rPr lang="en-US"/>
              <a:t>Insert Source text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3484351E-5906-1465-ED52-DA75D3630D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5126" y="218456"/>
            <a:ext cx="11460163" cy="430887"/>
          </a:xfrm>
        </p:spPr>
        <p:txBody>
          <a:bodyPr/>
          <a:lstStyle/>
          <a:p>
            <a:r>
              <a:rPr lang="en-GB" dirty="0"/>
              <a:t>Click to edit Master title style</a:t>
            </a:r>
            <a:endParaRPr lang="en-US" dirty="0"/>
          </a:p>
        </p:txBody>
      </p:sp>
      <p:sp>
        <p:nvSpPr>
          <p:cNvPr id="2" name="Freeform: Shape 1">
            <a:extLst>
              <a:ext uri="{FF2B5EF4-FFF2-40B4-BE49-F238E27FC236}">
                <a16:creationId xmlns:a16="http://schemas.microsoft.com/office/drawing/2014/main" id="{BB627EE7-29BC-7E7B-5DF4-1D96E07AD3F9}"/>
              </a:ext>
            </a:extLst>
          </p:cNvPr>
          <p:cNvSpPr/>
          <p:nvPr userDrawn="1"/>
        </p:nvSpPr>
        <p:spPr>
          <a:xfrm>
            <a:off x="0" y="154202"/>
            <a:ext cx="264043" cy="559397"/>
          </a:xfrm>
          <a:custGeom>
            <a:avLst/>
            <a:gdLst>
              <a:gd name="connsiteX0" fmla="*/ 0 w 857257"/>
              <a:gd name="connsiteY0" fmla="*/ 0 h 1816170"/>
              <a:gd name="connsiteX1" fmla="*/ 841477 w 857257"/>
              <a:gd name="connsiteY1" fmla="*/ 890550 h 1816170"/>
              <a:gd name="connsiteX2" fmla="*/ 841477 w 857257"/>
              <a:gd name="connsiteY2" fmla="*/ 925611 h 1816170"/>
              <a:gd name="connsiteX3" fmla="*/ 0 w 857257"/>
              <a:gd name="connsiteY3" fmla="*/ 1816170 h 1816170"/>
              <a:gd name="connsiteX4" fmla="*/ 0 w 857257"/>
              <a:gd name="connsiteY4" fmla="*/ 0 h 18161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57257" h="1816170">
                <a:moveTo>
                  <a:pt x="0" y="0"/>
                </a:moveTo>
                <a:cubicBezTo>
                  <a:pt x="0" y="462811"/>
                  <a:pt x="301523" y="743293"/>
                  <a:pt x="841477" y="890550"/>
                </a:cubicBezTo>
                <a:cubicBezTo>
                  <a:pt x="862517" y="897560"/>
                  <a:pt x="862517" y="918601"/>
                  <a:pt x="841477" y="925611"/>
                </a:cubicBezTo>
                <a:cubicBezTo>
                  <a:pt x="301523" y="1072868"/>
                  <a:pt x="0" y="1353360"/>
                  <a:pt x="0" y="181617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75915291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A/SPAD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Rectangle 31">
            <a:extLst>
              <a:ext uri="{FF2B5EF4-FFF2-40B4-BE49-F238E27FC236}">
                <a16:creationId xmlns:a16="http://schemas.microsoft.com/office/drawing/2014/main" id="{0AC59E1C-A015-4BA4-AB7D-EC00F37B815F}"/>
              </a:ext>
            </a:extLst>
          </p:cNvPr>
          <p:cNvSpPr/>
          <p:nvPr/>
        </p:nvSpPr>
        <p:spPr bwMode="auto">
          <a:xfrm>
            <a:off x="365126" y="1307574"/>
            <a:ext cx="1806576" cy="139650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/>
            <a:tailEnd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12600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eaLnBrk="0" fontAlgn="auto" hangingPunct="0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</a:pPr>
            <a:r>
              <a:rPr lang="en-US" sz="1600" b="1" dirty="0">
                <a:solidFill>
                  <a:schemeClr val="tx2"/>
                </a:solidFill>
              </a:rPr>
              <a:t>Objectives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D4EBA022-30B3-B17F-5D7C-3A3D869D35FA}"/>
              </a:ext>
            </a:extLst>
          </p:cNvPr>
          <p:cNvSpPr>
            <a:spLocks/>
          </p:cNvSpPr>
          <p:nvPr/>
        </p:nvSpPr>
        <p:spPr bwMode="auto">
          <a:xfrm>
            <a:off x="365126" y="2778690"/>
            <a:ext cx="1806576" cy="139650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/>
            <a:tailEnd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12600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eaLnBrk="0" fontAlgn="auto" hangingPunct="0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</a:pPr>
            <a:r>
              <a:rPr lang="en-US" sz="1600" b="1" dirty="0">
                <a:solidFill>
                  <a:schemeClr val="tx2"/>
                </a:solidFill>
              </a:rPr>
              <a:t>Key questions</a:t>
            </a: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FF5A742C-A049-77AC-C2E5-4272D118CC96}"/>
              </a:ext>
            </a:extLst>
          </p:cNvPr>
          <p:cNvSpPr>
            <a:spLocks/>
          </p:cNvSpPr>
          <p:nvPr/>
        </p:nvSpPr>
        <p:spPr bwMode="auto">
          <a:xfrm>
            <a:off x="365126" y="4249806"/>
            <a:ext cx="1806576" cy="139650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/>
            <a:tailEnd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12600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eaLnBrk="0" fontAlgn="auto" hangingPunct="0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</a:pPr>
            <a:r>
              <a:rPr lang="en-US" sz="1600" b="1" dirty="0">
                <a:solidFill>
                  <a:schemeClr val="tx2"/>
                </a:solidFill>
              </a:rPr>
              <a:t>Next steps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E66507E6-44A7-B4B5-33F1-9F0C0DC0FDE1}"/>
              </a:ext>
            </a:extLst>
          </p:cNvPr>
          <p:cNvSpPr/>
          <p:nvPr/>
        </p:nvSpPr>
        <p:spPr bwMode="auto">
          <a:xfrm>
            <a:off x="365126" y="5720922"/>
            <a:ext cx="1806576" cy="36337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/>
            <a:tailEnd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7200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eaLnBrk="0" fontAlgn="auto" hangingPunct="0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</a:pPr>
            <a:r>
              <a:rPr lang="en-US" sz="1600" b="1" dirty="0">
                <a:solidFill>
                  <a:schemeClr val="tx2"/>
                </a:solidFill>
              </a:rPr>
              <a:t>Owner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B773ECA-2D04-B6E9-1FB4-377F08AA5D1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3976886-926E-8975-E95D-5BCD6F82EEE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F9F533D-B52E-4A2F-BF72-0ADD2D94BD75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15E9B4D-B613-11AE-72F8-5A0C3EBFD95A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346B58B4-0D72-4C8B-9355-854FB5782278}" type="datetime4">
              <a:rPr lang="en-GB" smtClean="0"/>
              <a:t>22 September 2025</a:t>
            </a:fld>
            <a:endParaRPr lang="en-GB" dirty="0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25ABB6F2-78D4-BCC3-D950-5FAF7FCB8FD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5126" y="242888"/>
            <a:ext cx="7554912" cy="430887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to add topic / paper title</a:t>
            </a:r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FA46E8B4-4C83-8DD1-80BB-CC03BD24AFC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5125" y="694950"/>
            <a:ext cx="7554913" cy="352800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2400" i="0">
                <a:solidFill>
                  <a:schemeClr val="tx1"/>
                </a:solidFill>
                <a:latin typeface="+mn-lt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/>
              <a:t>Click to enter slide subtitle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8E19B5E4-F2A8-7F44-855D-F41DDE3B3D9F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8172450" y="694948"/>
            <a:ext cx="3649661" cy="352801"/>
          </a:xfrm>
        </p:spPr>
        <p:txBody>
          <a:bodyPr lIns="0" tIns="0" rIns="0" bIns="18000" anchor="b" anchorCtr="0">
            <a:noAutofit/>
          </a:bodyPr>
          <a:lstStyle>
            <a:lvl1pPr marL="0" indent="0" algn="r"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insert date of session </a:t>
            </a:r>
          </a:p>
        </p:txBody>
      </p:sp>
      <p:sp>
        <p:nvSpPr>
          <p:cNvPr id="23" name="Text Placeholder 6">
            <a:extLst>
              <a:ext uri="{FF2B5EF4-FFF2-40B4-BE49-F238E27FC236}">
                <a16:creationId xmlns:a16="http://schemas.microsoft.com/office/drawing/2014/main" id="{472F201F-277F-F24E-085D-8160B5FF4CE6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365126" y="1777158"/>
            <a:ext cx="1695450" cy="926921"/>
          </a:xfrm>
          <a:prstGeom prst="rect">
            <a:avLst/>
          </a:prstGeom>
          <a:noFill/>
          <a:ln>
            <a:noFill/>
          </a:ln>
        </p:spPr>
        <p:txBody>
          <a:bodyPr lIns="72000" tIns="0" rIns="0" bIns="0" anchor="ctr" anchorCtr="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+mj-lt"/>
              <a:buNone/>
              <a:defRPr sz="1200">
                <a:solidFill>
                  <a:schemeClr val="bg2"/>
                </a:solidFill>
              </a:defRPr>
            </a:lvl1pPr>
            <a:lvl2pPr marL="357542" indent="0">
              <a:buNone/>
              <a:defRPr/>
            </a:lvl2pPr>
          </a:lstStyle>
          <a:p>
            <a:pPr lvl="0"/>
            <a:r>
              <a:rPr lang="en-US" dirty="0"/>
              <a:t>Up to 5 clear, focused objectives </a:t>
            </a:r>
            <a:br>
              <a:rPr lang="en-US" dirty="0"/>
            </a:br>
            <a:r>
              <a:rPr lang="en-US" dirty="0"/>
              <a:t>(</a:t>
            </a:r>
            <a:r>
              <a:rPr lang="en-US" dirty="0" err="1"/>
              <a:t>i</a:t>
            </a:r>
            <a:r>
              <a:rPr lang="en-US" dirty="0"/>
              <a:t>) for decision, </a:t>
            </a:r>
            <a:br>
              <a:rPr lang="en-US" dirty="0"/>
            </a:br>
            <a:r>
              <a:rPr lang="en-US" dirty="0"/>
              <a:t>(ii) for input </a:t>
            </a:r>
            <a:br>
              <a:rPr lang="en-US" dirty="0"/>
            </a:br>
            <a:r>
              <a:rPr lang="en-US" dirty="0"/>
              <a:t>(iii) for awareness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1BD6FC89-B057-E6C5-C8EA-1FC8CB31B6CA}"/>
              </a:ext>
            </a:extLst>
          </p:cNvPr>
          <p:cNvSpPr/>
          <p:nvPr/>
        </p:nvSpPr>
        <p:spPr bwMode="auto">
          <a:xfrm>
            <a:off x="8172450" y="242888"/>
            <a:ext cx="3654425" cy="452059"/>
          </a:xfrm>
          <a:prstGeom prst="rect">
            <a:avLst/>
          </a:prstGeom>
          <a:noFill/>
          <a:ln>
            <a:noFill/>
            <a:headEnd/>
            <a:tailEnd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5400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 eaLnBrk="0" fontAlgn="auto" hangingPunct="0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</a:pPr>
            <a:r>
              <a:rPr lang="en-US" sz="1800" b="1" kern="0" dirty="0">
                <a:solidFill>
                  <a:schemeClr val="tx2"/>
                </a:solidFill>
              </a:rPr>
              <a:t>Session date:</a:t>
            </a:r>
          </a:p>
        </p:txBody>
      </p:sp>
      <p:sp>
        <p:nvSpPr>
          <p:cNvPr id="24" name="Text Placeholder 6">
            <a:extLst>
              <a:ext uri="{FF2B5EF4-FFF2-40B4-BE49-F238E27FC236}">
                <a16:creationId xmlns:a16="http://schemas.microsoft.com/office/drawing/2014/main" id="{B166E02B-F260-FEAF-DDEB-67922AA11E6E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365126" y="3337172"/>
            <a:ext cx="1695450" cy="838023"/>
          </a:xfrm>
          <a:prstGeom prst="rect">
            <a:avLst/>
          </a:prstGeom>
          <a:noFill/>
          <a:ln>
            <a:noFill/>
          </a:ln>
        </p:spPr>
        <p:txBody>
          <a:bodyPr lIns="72000" tIns="0" rIns="0" bIns="0" anchor="ctr" anchorCtr="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+mj-lt"/>
              <a:buNone/>
              <a:defRPr sz="1200">
                <a:solidFill>
                  <a:schemeClr val="bg2"/>
                </a:solidFill>
              </a:defRPr>
            </a:lvl1pPr>
            <a:lvl2pPr marL="357542" indent="0">
              <a:buNone/>
              <a:defRPr/>
            </a:lvl2pPr>
          </a:lstStyle>
          <a:p>
            <a:pPr lvl="0"/>
            <a:r>
              <a:rPr lang="en-US" dirty="0"/>
              <a:t>Up to 5 key questions to be addressed at the meeting</a:t>
            </a:r>
          </a:p>
        </p:txBody>
      </p:sp>
      <p:sp>
        <p:nvSpPr>
          <p:cNvPr id="90" name="Freeform: Shape 89">
            <a:extLst>
              <a:ext uri="{FF2B5EF4-FFF2-40B4-BE49-F238E27FC236}">
                <a16:creationId xmlns:a16="http://schemas.microsoft.com/office/drawing/2014/main" id="{9EA22563-2363-AB1F-DC9F-7A5457933645}"/>
              </a:ext>
            </a:extLst>
          </p:cNvPr>
          <p:cNvSpPr/>
          <p:nvPr/>
        </p:nvSpPr>
        <p:spPr>
          <a:xfrm>
            <a:off x="0" y="184645"/>
            <a:ext cx="264043" cy="559397"/>
          </a:xfrm>
          <a:custGeom>
            <a:avLst/>
            <a:gdLst>
              <a:gd name="connsiteX0" fmla="*/ 0 w 857257"/>
              <a:gd name="connsiteY0" fmla="*/ 0 h 1816170"/>
              <a:gd name="connsiteX1" fmla="*/ 841477 w 857257"/>
              <a:gd name="connsiteY1" fmla="*/ 890550 h 1816170"/>
              <a:gd name="connsiteX2" fmla="*/ 841477 w 857257"/>
              <a:gd name="connsiteY2" fmla="*/ 925611 h 1816170"/>
              <a:gd name="connsiteX3" fmla="*/ 0 w 857257"/>
              <a:gd name="connsiteY3" fmla="*/ 1816170 h 1816170"/>
              <a:gd name="connsiteX4" fmla="*/ 0 w 857257"/>
              <a:gd name="connsiteY4" fmla="*/ 0 h 18161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57257" h="1816170">
                <a:moveTo>
                  <a:pt x="0" y="0"/>
                </a:moveTo>
                <a:cubicBezTo>
                  <a:pt x="0" y="462811"/>
                  <a:pt x="301523" y="743293"/>
                  <a:pt x="841477" y="890550"/>
                </a:cubicBezTo>
                <a:cubicBezTo>
                  <a:pt x="862517" y="897560"/>
                  <a:pt x="862517" y="918601"/>
                  <a:pt x="841477" y="925611"/>
                </a:cubicBezTo>
                <a:cubicBezTo>
                  <a:pt x="301523" y="1072868"/>
                  <a:pt x="0" y="1353360"/>
                  <a:pt x="0" y="181617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dirty="0"/>
          </a:p>
        </p:txBody>
      </p:sp>
      <p:sp>
        <p:nvSpPr>
          <p:cNvPr id="54" name="Text Placeholder 53">
            <a:extLst>
              <a:ext uri="{FF2B5EF4-FFF2-40B4-BE49-F238E27FC236}">
                <a16:creationId xmlns:a16="http://schemas.microsoft.com/office/drawing/2014/main" id="{82C5C591-14F5-449A-187A-1D9A683E961E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2260405" y="1307574"/>
            <a:ext cx="9557738" cy="139650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lIns="180000" tIns="144000" rIns="0" bIns="72000" anchor="t" anchorCtr="0">
            <a:noAutofit/>
          </a:bodyPr>
          <a:lstStyle>
            <a:lvl1pPr marL="342900" indent="-342900">
              <a:spcBef>
                <a:spcPts val="300"/>
              </a:spcBef>
              <a:spcAft>
                <a:spcPts val="300"/>
              </a:spcAft>
              <a:buSzPct val="100000"/>
              <a:buFont typeface="+mj-lt"/>
              <a:buAutoNum type="arabicPeriod"/>
              <a:defRPr sz="1200"/>
            </a:lvl1pPr>
            <a:lvl2pPr marL="357542" indent="0">
              <a:buNone/>
              <a:defRPr/>
            </a:lvl2pPr>
          </a:lstStyle>
          <a:p>
            <a:pPr lvl="0"/>
            <a:r>
              <a:rPr lang="en-US" dirty="0"/>
              <a:t>DECISION: To seek X’s [single point accountable decision maker] decision to implement A</a:t>
            </a:r>
            <a:br>
              <a:rPr lang="en-US" dirty="0"/>
            </a:br>
            <a:r>
              <a:rPr lang="en-US" dirty="0"/>
              <a:t>INPUT: To receive input to the proposed plan for B</a:t>
            </a:r>
            <a:br>
              <a:rPr lang="en-US" dirty="0"/>
            </a:br>
            <a:r>
              <a:rPr lang="en-US" dirty="0"/>
              <a:t>AWARENESS: To update XXX regarding C</a:t>
            </a:r>
          </a:p>
        </p:txBody>
      </p:sp>
      <p:sp>
        <p:nvSpPr>
          <p:cNvPr id="55" name="Text Placeholder 54">
            <a:extLst>
              <a:ext uri="{FF2B5EF4-FFF2-40B4-BE49-F238E27FC236}">
                <a16:creationId xmlns:a16="http://schemas.microsoft.com/office/drawing/2014/main" id="{54077D3A-2E14-68B6-5E16-413475F36C3A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2260405" y="2778690"/>
            <a:ext cx="9557738" cy="139650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lIns="180000" tIns="144000" rIns="0" bIns="72000" anchor="t" anchorCtr="0">
            <a:noAutofit/>
          </a:bodyPr>
          <a:lstStyle>
            <a:lvl1pPr marL="342900" indent="-342900">
              <a:spcBef>
                <a:spcPts val="300"/>
              </a:spcBef>
              <a:spcAft>
                <a:spcPts val="300"/>
              </a:spcAft>
              <a:buSzPct val="100000"/>
              <a:buFont typeface="+mj-lt"/>
              <a:buAutoNum type="arabicPeriod"/>
              <a:defRPr sz="1200"/>
            </a:lvl1pPr>
            <a:lvl2pPr marL="357542" indent="0">
              <a:buNone/>
              <a:defRPr/>
            </a:lvl2pPr>
          </a:lstStyle>
          <a:p>
            <a:pPr lvl="0"/>
            <a:r>
              <a:rPr lang="en-US" dirty="0"/>
              <a:t>Does XXX have further input on the proposals set out or require additional information?</a:t>
            </a:r>
            <a:br>
              <a:rPr lang="en-US" dirty="0"/>
            </a:br>
            <a:r>
              <a:rPr lang="en-US" dirty="0"/>
              <a:t>Is XXX supportive of the recommendation to x, y, z?</a:t>
            </a:r>
            <a:br>
              <a:rPr lang="en-US" dirty="0"/>
            </a:br>
            <a:r>
              <a:rPr lang="en-US" dirty="0"/>
              <a:t>Does XXX support the approach outlined to x, y, z?</a:t>
            </a:r>
          </a:p>
        </p:txBody>
      </p:sp>
      <p:sp>
        <p:nvSpPr>
          <p:cNvPr id="56" name="Text Placeholder 55">
            <a:extLst>
              <a:ext uri="{FF2B5EF4-FFF2-40B4-BE49-F238E27FC236}">
                <a16:creationId xmlns:a16="http://schemas.microsoft.com/office/drawing/2014/main" id="{5DE7D720-AF89-6DE4-D2E5-33C7B01B7E91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2260405" y="4249806"/>
            <a:ext cx="9557738" cy="139650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lIns="180000" tIns="144000" rIns="0" bIns="72000" anchor="t" anchorCtr="0">
            <a:noAutofit/>
          </a:bodyPr>
          <a:lstStyle>
            <a:lvl1pPr marL="342900" indent="-342900">
              <a:spcBef>
                <a:spcPts val="300"/>
              </a:spcBef>
              <a:spcAft>
                <a:spcPts val="300"/>
              </a:spcAft>
              <a:buSzPct val="100000"/>
              <a:buFont typeface="+mj-lt"/>
              <a:buAutoNum type="arabicPeriod"/>
              <a:defRPr sz="1200"/>
            </a:lvl1pPr>
            <a:lvl2pPr marL="357542" indent="0">
              <a:buNone/>
              <a:defRPr/>
            </a:lvl2pPr>
          </a:lstStyle>
          <a:p>
            <a:pPr lvl="0"/>
            <a:r>
              <a:rPr lang="en-US" dirty="0"/>
              <a:t>Key steps following XXX review / decision</a:t>
            </a:r>
          </a:p>
        </p:txBody>
      </p:sp>
      <p:sp>
        <p:nvSpPr>
          <p:cNvPr id="57" name="Text Placeholder 56">
            <a:extLst>
              <a:ext uri="{FF2B5EF4-FFF2-40B4-BE49-F238E27FC236}">
                <a16:creationId xmlns:a16="http://schemas.microsoft.com/office/drawing/2014/main" id="{8C53FB3B-975B-80D5-29B3-81DC27DCAC8F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2260405" y="5720922"/>
            <a:ext cx="9557738" cy="36337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lIns="180000" tIns="36000" rIns="0" bIns="36000" anchor="ctr" anchorCtr="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SzPct val="100000"/>
              <a:buFont typeface="+mj-lt"/>
              <a:buNone/>
              <a:defRPr sz="1200"/>
            </a:lvl1pPr>
            <a:lvl2pPr marL="357542" indent="0">
              <a:buNone/>
              <a:defRPr/>
            </a:lvl2pPr>
          </a:lstStyle>
          <a:p>
            <a:pPr lvl="0"/>
            <a:r>
              <a:rPr lang="en-US" dirty="0"/>
              <a:t>Single person accountable for this topic / paper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E99A99C6-B235-2720-3500-EE89CB56CE50}"/>
              </a:ext>
            </a:extLst>
          </p:cNvPr>
          <p:cNvSpPr/>
          <p:nvPr userDrawn="1"/>
        </p:nvSpPr>
        <p:spPr bwMode="auto">
          <a:xfrm>
            <a:off x="365126" y="1307574"/>
            <a:ext cx="1806576" cy="139650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/>
            <a:tailEnd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12600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eaLnBrk="0" fontAlgn="auto" hangingPunct="0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</a:pPr>
            <a:r>
              <a:rPr lang="en-US" sz="1600" b="1" dirty="0">
                <a:solidFill>
                  <a:schemeClr val="tx2"/>
                </a:solidFill>
              </a:rPr>
              <a:t>Objectives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3B9E051E-8049-FCFD-A54B-E240AC53D1B2}"/>
              </a:ext>
            </a:extLst>
          </p:cNvPr>
          <p:cNvSpPr>
            <a:spLocks/>
          </p:cNvSpPr>
          <p:nvPr userDrawn="1"/>
        </p:nvSpPr>
        <p:spPr bwMode="auto">
          <a:xfrm>
            <a:off x="365126" y="2778690"/>
            <a:ext cx="1806576" cy="139650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/>
            <a:tailEnd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12600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eaLnBrk="0" fontAlgn="auto" hangingPunct="0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</a:pPr>
            <a:r>
              <a:rPr lang="en-US" sz="1600" b="1" dirty="0">
                <a:solidFill>
                  <a:schemeClr val="tx2"/>
                </a:solidFill>
              </a:rPr>
              <a:t>Key questions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DCE8FC5E-A678-F4F9-6FC7-EEAB2E69AF78}"/>
              </a:ext>
            </a:extLst>
          </p:cNvPr>
          <p:cNvSpPr>
            <a:spLocks/>
          </p:cNvSpPr>
          <p:nvPr userDrawn="1"/>
        </p:nvSpPr>
        <p:spPr bwMode="auto">
          <a:xfrm>
            <a:off x="365126" y="4249806"/>
            <a:ext cx="1806576" cy="139650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/>
            <a:tailEnd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12600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eaLnBrk="0" fontAlgn="auto" hangingPunct="0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</a:pPr>
            <a:r>
              <a:rPr lang="en-US" sz="1600" b="1" dirty="0">
                <a:solidFill>
                  <a:schemeClr val="tx2"/>
                </a:solidFill>
              </a:rPr>
              <a:t>Next step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B25B3DF6-C945-56A1-A6D2-AC4E6E31179A}"/>
              </a:ext>
            </a:extLst>
          </p:cNvPr>
          <p:cNvSpPr/>
          <p:nvPr userDrawn="1"/>
        </p:nvSpPr>
        <p:spPr bwMode="auto">
          <a:xfrm>
            <a:off x="365126" y="5720922"/>
            <a:ext cx="1806576" cy="36337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/>
            <a:tailEnd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7200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eaLnBrk="0" fontAlgn="auto" hangingPunct="0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</a:pPr>
            <a:r>
              <a:rPr lang="en-US" sz="1600" b="1" dirty="0">
                <a:solidFill>
                  <a:schemeClr val="tx2"/>
                </a:solidFill>
              </a:rPr>
              <a:t>Owner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DF88839E-C216-4873-F020-A965C577DAF8}"/>
              </a:ext>
            </a:extLst>
          </p:cNvPr>
          <p:cNvSpPr/>
          <p:nvPr userDrawn="1"/>
        </p:nvSpPr>
        <p:spPr bwMode="auto">
          <a:xfrm>
            <a:off x="8172450" y="242888"/>
            <a:ext cx="3654425" cy="452059"/>
          </a:xfrm>
          <a:prstGeom prst="rect">
            <a:avLst/>
          </a:prstGeom>
          <a:noFill/>
          <a:ln>
            <a:noFill/>
            <a:headEnd/>
            <a:tailEnd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5400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 eaLnBrk="0" fontAlgn="auto" hangingPunct="0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</a:pPr>
            <a:r>
              <a:rPr lang="en-US" sz="1800" b="1" kern="0" dirty="0">
                <a:solidFill>
                  <a:schemeClr val="tx2"/>
                </a:solidFill>
              </a:rPr>
              <a:t>Session date:</a:t>
            </a:r>
          </a:p>
        </p:txBody>
      </p: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41D1E881-0EAE-876E-66F9-7BE9CD740EA1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365126" y="3337172"/>
            <a:ext cx="1695450" cy="838023"/>
          </a:xfrm>
          <a:prstGeom prst="rect">
            <a:avLst/>
          </a:prstGeom>
          <a:noFill/>
          <a:ln>
            <a:noFill/>
          </a:ln>
        </p:spPr>
        <p:txBody>
          <a:bodyPr lIns="72000" tIns="0" rIns="0" bIns="0" anchor="ctr" anchorCtr="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+mj-lt"/>
              <a:buNone/>
              <a:defRPr sz="1200">
                <a:solidFill>
                  <a:schemeClr val="bg2"/>
                </a:solidFill>
              </a:defRPr>
            </a:lvl1pPr>
            <a:lvl2pPr marL="357542" indent="0">
              <a:buNone/>
              <a:defRPr/>
            </a:lvl2pPr>
          </a:lstStyle>
          <a:p>
            <a:pPr lvl="0"/>
            <a:r>
              <a:rPr lang="en-US" dirty="0"/>
              <a:t>Up to 5 key questions to be addressed at the meeting</a:t>
            </a:r>
          </a:p>
        </p:txBody>
      </p:sp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3B4A7AA8-50D7-2FFC-F51D-207317C17DEF}"/>
              </a:ext>
            </a:extLst>
          </p:cNvPr>
          <p:cNvSpPr/>
          <p:nvPr userDrawn="1"/>
        </p:nvSpPr>
        <p:spPr>
          <a:xfrm>
            <a:off x="0" y="184645"/>
            <a:ext cx="264043" cy="559397"/>
          </a:xfrm>
          <a:custGeom>
            <a:avLst/>
            <a:gdLst>
              <a:gd name="connsiteX0" fmla="*/ 0 w 857257"/>
              <a:gd name="connsiteY0" fmla="*/ 0 h 1816170"/>
              <a:gd name="connsiteX1" fmla="*/ 841477 w 857257"/>
              <a:gd name="connsiteY1" fmla="*/ 890550 h 1816170"/>
              <a:gd name="connsiteX2" fmla="*/ 841477 w 857257"/>
              <a:gd name="connsiteY2" fmla="*/ 925611 h 1816170"/>
              <a:gd name="connsiteX3" fmla="*/ 0 w 857257"/>
              <a:gd name="connsiteY3" fmla="*/ 1816170 h 1816170"/>
              <a:gd name="connsiteX4" fmla="*/ 0 w 857257"/>
              <a:gd name="connsiteY4" fmla="*/ 0 h 18161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57257" h="1816170">
                <a:moveTo>
                  <a:pt x="0" y="0"/>
                </a:moveTo>
                <a:cubicBezTo>
                  <a:pt x="0" y="462811"/>
                  <a:pt x="301523" y="743293"/>
                  <a:pt x="841477" y="890550"/>
                </a:cubicBezTo>
                <a:cubicBezTo>
                  <a:pt x="862517" y="897560"/>
                  <a:pt x="862517" y="918601"/>
                  <a:pt x="841477" y="925611"/>
                </a:cubicBezTo>
                <a:cubicBezTo>
                  <a:pt x="301523" y="1072868"/>
                  <a:pt x="0" y="1353360"/>
                  <a:pt x="0" y="181617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7303991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E000430-8A32-4EA0-BAD1-A7727B812F8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542794-638D-4328-B0BC-C610FB243ADC}" type="datetime4">
              <a:rPr lang="en-GB" smtClean="0"/>
              <a:t>22 September 2025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706E0BB-62AD-47AF-909C-4F33FB5616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53CEE5C-8451-457A-BD36-F438731DB09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F9F533D-B52E-4A2F-BF72-0ADD2D94BD75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61071252-BD8E-4D3D-BF35-8427544DDF4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13176" y="242888"/>
            <a:ext cx="6712112" cy="5848350"/>
          </a:xfrm>
        </p:spPr>
        <p:txBody>
          <a:bodyPr lIns="0" tIns="406800" rIns="0" bIns="180000" anchor="t">
            <a:noAutofit/>
          </a:bodyPr>
          <a:lstStyle>
            <a:lvl1pPr marL="720000" indent="-720000">
              <a:spcBef>
                <a:spcPts val="1200"/>
              </a:spcBef>
              <a:spcAft>
                <a:spcPts val="1200"/>
              </a:spcAft>
              <a:buClr>
                <a:schemeClr val="tx2"/>
              </a:buClr>
              <a:buSzPct val="100000"/>
              <a:buFont typeface="+mj-lt"/>
              <a:buAutoNum type="arabicPeriod"/>
              <a:defRPr sz="2800"/>
            </a:lvl1pPr>
            <a:lvl2pPr marL="814742" indent="-457200">
              <a:buClr>
                <a:schemeClr val="tx2"/>
              </a:buClr>
              <a:buFont typeface="+mj-lt"/>
              <a:buAutoNum type="arabicPeriod"/>
              <a:defRPr/>
            </a:lvl2pPr>
            <a:lvl3pPr marL="1177182" indent="-457200">
              <a:buClr>
                <a:schemeClr val="tx2"/>
              </a:buClr>
              <a:buFont typeface="+mj-lt"/>
              <a:buAutoNum type="arabicPeriod"/>
              <a:defRPr/>
            </a:lvl3pPr>
            <a:lvl4pPr>
              <a:buClr>
                <a:schemeClr val="tx2"/>
              </a:buClr>
              <a:buFont typeface="+mj-lt"/>
              <a:buAutoNum type="arabicPeriod"/>
              <a:defRPr/>
            </a:lvl4pPr>
            <a:lvl5pPr>
              <a:buClr>
                <a:schemeClr val="tx2"/>
              </a:buClr>
              <a:buFont typeface="+mj-lt"/>
              <a:buAutoNum type="arabicPeriod"/>
              <a:defRPr/>
            </a:lvl5pPr>
          </a:lstStyle>
          <a:p>
            <a:pPr lvl="0"/>
            <a:r>
              <a:rPr lang="en-GB" dirty="0"/>
              <a:t>Agenda point 1, add text here.</a:t>
            </a:r>
            <a:br>
              <a:rPr lang="en-GB" dirty="0"/>
            </a:br>
            <a:r>
              <a:rPr lang="en-GB" dirty="0"/>
              <a:t>Agenda point 2, add text here.</a:t>
            </a:r>
            <a:br>
              <a:rPr lang="en-GB" dirty="0"/>
            </a:br>
            <a:r>
              <a:rPr lang="en-GB" dirty="0"/>
              <a:t>Agenda point 3, add text here.</a:t>
            </a:r>
            <a:br>
              <a:rPr lang="en-GB" dirty="0"/>
            </a:br>
            <a:r>
              <a:rPr lang="en-GB" dirty="0"/>
              <a:t>Agenda point 4, add text here.</a:t>
            </a:r>
            <a:br>
              <a:rPr lang="en-GB" dirty="0"/>
            </a:br>
            <a:r>
              <a:rPr lang="en-GB" dirty="0"/>
              <a:t>Agenda point 5, add text here.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0630E13A-9E76-B161-1416-CBE84BD228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5126" y="242888"/>
            <a:ext cx="4748050" cy="43088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2202868D-ACDF-6434-3575-872690D6A78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5125" y="694950"/>
            <a:ext cx="4748050" cy="352800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2400" i="0">
                <a:solidFill>
                  <a:schemeClr val="tx1"/>
                </a:solidFill>
                <a:latin typeface="+mn-lt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/>
              <a:t>Click to enter slide subtitle</a:t>
            </a:r>
          </a:p>
        </p:txBody>
      </p:sp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B674B05C-AADA-DE64-7CCE-6E374DE8A947}"/>
              </a:ext>
            </a:extLst>
          </p:cNvPr>
          <p:cNvSpPr/>
          <p:nvPr/>
        </p:nvSpPr>
        <p:spPr>
          <a:xfrm>
            <a:off x="0" y="184645"/>
            <a:ext cx="264043" cy="559397"/>
          </a:xfrm>
          <a:custGeom>
            <a:avLst/>
            <a:gdLst>
              <a:gd name="connsiteX0" fmla="*/ 0 w 857257"/>
              <a:gd name="connsiteY0" fmla="*/ 0 h 1816170"/>
              <a:gd name="connsiteX1" fmla="*/ 841477 w 857257"/>
              <a:gd name="connsiteY1" fmla="*/ 890550 h 1816170"/>
              <a:gd name="connsiteX2" fmla="*/ 841477 w 857257"/>
              <a:gd name="connsiteY2" fmla="*/ 925611 h 1816170"/>
              <a:gd name="connsiteX3" fmla="*/ 0 w 857257"/>
              <a:gd name="connsiteY3" fmla="*/ 1816170 h 1816170"/>
              <a:gd name="connsiteX4" fmla="*/ 0 w 857257"/>
              <a:gd name="connsiteY4" fmla="*/ 0 h 18161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57257" h="1816170">
                <a:moveTo>
                  <a:pt x="0" y="0"/>
                </a:moveTo>
                <a:cubicBezTo>
                  <a:pt x="0" y="462811"/>
                  <a:pt x="301523" y="743293"/>
                  <a:pt x="841477" y="890550"/>
                </a:cubicBezTo>
                <a:cubicBezTo>
                  <a:pt x="862517" y="897560"/>
                  <a:pt x="862517" y="918601"/>
                  <a:pt x="841477" y="925611"/>
                </a:cubicBezTo>
                <a:cubicBezTo>
                  <a:pt x="301523" y="1072868"/>
                  <a:pt x="0" y="1353360"/>
                  <a:pt x="0" y="181617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dirty="0"/>
          </a:p>
        </p:txBody>
      </p:sp>
      <p:sp>
        <p:nvSpPr>
          <p:cNvPr id="2" name="Freeform: Shape 1">
            <a:extLst>
              <a:ext uri="{FF2B5EF4-FFF2-40B4-BE49-F238E27FC236}">
                <a16:creationId xmlns:a16="http://schemas.microsoft.com/office/drawing/2014/main" id="{46F1642B-8EED-A6CF-BBC5-B42CE4EBF309}"/>
              </a:ext>
            </a:extLst>
          </p:cNvPr>
          <p:cNvSpPr/>
          <p:nvPr userDrawn="1"/>
        </p:nvSpPr>
        <p:spPr>
          <a:xfrm>
            <a:off x="0" y="184645"/>
            <a:ext cx="264043" cy="559397"/>
          </a:xfrm>
          <a:custGeom>
            <a:avLst/>
            <a:gdLst>
              <a:gd name="connsiteX0" fmla="*/ 0 w 857257"/>
              <a:gd name="connsiteY0" fmla="*/ 0 h 1816170"/>
              <a:gd name="connsiteX1" fmla="*/ 841477 w 857257"/>
              <a:gd name="connsiteY1" fmla="*/ 890550 h 1816170"/>
              <a:gd name="connsiteX2" fmla="*/ 841477 w 857257"/>
              <a:gd name="connsiteY2" fmla="*/ 925611 h 1816170"/>
              <a:gd name="connsiteX3" fmla="*/ 0 w 857257"/>
              <a:gd name="connsiteY3" fmla="*/ 1816170 h 1816170"/>
              <a:gd name="connsiteX4" fmla="*/ 0 w 857257"/>
              <a:gd name="connsiteY4" fmla="*/ 0 h 18161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57257" h="1816170">
                <a:moveTo>
                  <a:pt x="0" y="0"/>
                </a:moveTo>
                <a:cubicBezTo>
                  <a:pt x="0" y="462811"/>
                  <a:pt x="301523" y="743293"/>
                  <a:pt x="841477" y="890550"/>
                </a:cubicBezTo>
                <a:cubicBezTo>
                  <a:pt x="862517" y="897560"/>
                  <a:pt x="862517" y="918601"/>
                  <a:pt x="841477" y="925611"/>
                </a:cubicBezTo>
                <a:cubicBezTo>
                  <a:pt x="301523" y="1072868"/>
                  <a:pt x="0" y="1353360"/>
                  <a:pt x="0" y="181617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6012945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0DD48070-D695-60C2-898C-9832D9369B0C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65125" y="1311162"/>
            <a:ext cx="11460164" cy="4484800"/>
          </a:xfrm>
          <a:custGeom>
            <a:avLst/>
            <a:gdLst>
              <a:gd name="connsiteX0" fmla="*/ 185682 w 11460164"/>
              <a:gd name="connsiteY0" fmla="*/ 0 h 4484800"/>
              <a:gd name="connsiteX1" fmla="*/ 11274482 w 11460164"/>
              <a:gd name="connsiteY1" fmla="*/ 0 h 4484800"/>
              <a:gd name="connsiteX2" fmla="*/ 11460164 w 11460164"/>
              <a:gd name="connsiteY2" fmla="*/ 185682 h 4484800"/>
              <a:gd name="connsiteX3" fmla="*/ 11460164 w 11460164"/>
              <a:gd name="connsiteY3" fmla="*/ 456183 h 4484800"/>
              <a:gd name="connsiteX4" fmla="*/ 11460164 w 11460164"/>
              <a:gd name="connsiteY4" fmla="*/ 715601 h 4484800"/>
              <a:gd name="connsiteX5" fmla="*/ 11460164 w 11460164"/>
              <a:gd name="connsiteY5" fmla="*/ 4299118 h 4484800"/>
              <a:gd name="connsiteX6" fmla="*/ 11274482 w 11460164"/>
              <a:gd name="connsiteY6" fmla="*/ 4484800 h 4484800"/>
              <a:gd name="connsiteX7" fmla="*/ 185682 w 11460164"/>
              <a:gd name="connsiteY7" fmla="*/ 4484800 h 4484800"/>
              <a:gd name="connsiteX8" fmla="*/ 0 w 11460164"/>
              <a:gd name="connsiteY8" fmla="*/ 4299118 h 4484800"/>
              <a:gd name="connsiteX9" fmla="*/ 0 w 11460164"/>
              <a:gd name="connsiteY9" fmla="*/ 715601 h 4484800"/>
              <a:gd name="connsiteX10" fmla="*/ 0 w 11460164"/>
              <a:gd name="connsiteY10" fmla="*/ 456183 h 4484800"/>
              <a:gd name="connsiteX11" fmla="*/ 0 w 11460164"/>
              <a:gd name="connsiteY11" fmla="*/ 185682 h 4484800"/>
              <a:gd name="connsiteX12" fmla="*/ 185682 w 11460164"/>
              <a:gd name="connsiteY12" fmla="*/ 0 h 4484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1460164" h="4484800">
                <a:moveTo>
                  <a:pt x="185682" y="0"/>
                </a:moveTo>
                <a:lnTo>
                  <a:pt x="11274482" y="0"/>
                </a:lnTo>
                <a:cubicBezTo>
                  <a:pt x="11377031" y="0"/>
                  <a:pt x="11460164" y="83133"/>
                  <a:pt x="11460164" y="185682"/>
                </a:cubicBezTo>
                <a:lnTo>
                  <a:pt x="11460164" y="456183"/>
                </a:lnTo>
                <a:lnTo>
                  <a:pt x="11460164" y="715601"/>
                </a:lnTo>
                <a:lnTo>
                  <a:pt x="11460164" y="4299118"/>
                </a:lnTo>
                <a:cubicBezTo>
                  <a:pt x="11460164" y="4401667"/>
                  <a:pt x="11377031" y="4484800"/>
                  <a:pt x="11274482" y="4484800"/>
                </a:cubicBezTo>
                <a:lnTo>
                  <a:pt x="185682" y="4484800"/>
                </a:lnTo>
                <a:cubicBezTo>
                  <a:pt x="83133" y="4484800"/>
                  <a:pt x="0" y="4401667"/>
                  <a:pt x="0" y="4299118"/>
                </a:cubicBezTo>
                <a:lnTo>
                  <a:pt x="0" y="715601"/>
                </a:lnTo>
                <a:lnTo>
                  <a:pt x="0" y="456183"/>
                </a:lnTo>
                <a:lnTo>
                  <a:pt x="0" y="185682"/>
                </a:lnTo>
                <a:cubicBezTo>
                  <a:pt x="0" y="83133"/>
                  <a:pt x="83133" y="0"/>
                  <a:pt x="185682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tIns="36000">
            <a:noAutofit/>
          </a:bodyPr>
          <a:lstStyle>
            <a:lvl1pPr marL="0" indent="0">
              <a:buNone/>
              <a:defRPr/>
            </a:lvl1pPr>
            <a:lvl2pPr marL="357542" indent="0">
              <a:buNone/>
              <a:defRPr/>
            </a:lvl2pPr>
            <a:lvl3pPr marL="719982" indent="0">
              <a:buNone/>
              <a:defRPr/>
            </a:lvl3pPr>
            <a:lvl4pPr marL="1081424" indent="0">
              <a:buNone/>
              <a:defRPr/>
            </a:lvl4pPr>
            <a:lvl5pPr marL="1439964" indent="0">
              <a:buNone/>
              <a:defRPr/>
            </a:lvl5pPr>
          </a:lstStyle>
          <a:p>
            <a:pPr lvl="0"/>
            <a:r>
              <a:rPr lang="en-US" dirty="0"/>
              <a:t>Click to enter TEXT content ONLY.</a:t>
            </a:r>
            <a:br>
              <a:rPr lang="en-US" dirty="0"/>
            </a:br>
            <a:r>
              <a:rPr lang="en-US" dirty="0"/>
              <a:t>If text content appears outside of grey holder please reduce the size of the font.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8" hasCustomPrompt="1"/>
          </p:nvPr>
        </p:nvSpPr>
        <p:spPr>
          <a:xfrm>
            <a:off x="365125" y="5792438"/>
            <a:ext cx="11460164" cy="298800"/>
          </a:xfrm>
          <a:prstGeom prst="rect">
            <a:avLst/>
          </a:prstGeom>
        </p:spPr>
        <p:txBody>
          <a:bodyPr wrap="square" lIns="0" tIns="0" rIns="0" bIns="0" anchor="b" anchorCtr="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800" baseline="0"/>
            </a:lvl1pPr>
            <a:lvl2pPr marL="357542" indent="0">
              <a:buNone/>
              <a:defRPr sz="1067"/>
            </a:lvl2pPr>
            <a:lvl3pPr marL="719982" indent="0">
              <a:buNone/>
              <a:defRPr sz="1067"/>
            </a:lvl3pPr>
            <a:lvl4pPr marL="1081424" indent="0">
              <a:buNone/>
              <a:defRPr sz="1067"/>
            </a:lvl4pPr>
            <a:lvl5pPr marL="1439964" indent="0">
              <a:buNone/>
              <a:defRPr sz="1067"/>
            </a:lvl5pPr>
          </a:lstStyle>
          <a:p>
            <a:pPr lvl="0"/>
            <a:r>
              <a:rPr lang="en-GB"/>
              <a:t>Insert Source text here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41B731B-8FAA-4A1B-8740-D7002967C1CA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fld id="{DB124F8D-6A21-41BB-B641-CA493D4F9456}" type="datetime4">
              <a:rPr lang="en-GB" smtClean="0"/>
              <a:t>22 September 2025</a:t>
            </a:fld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1C84BE9-25CA-45B1-9061-9DCABA70A1E6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BF0296A1-E119-4AEC-80A5-65FD719F9631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9F9F533D-B52E-4A2F-BF72-0ADD2D94BD75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88C0D48C-007D-FEEC-D1DF-C00891876F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5125" y="242888"/>
            <a:ext cx="11460163" cy="43088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1F6E4BF1-5B10-6CC3-60CB-FA773CAB8AF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5125" y="694950"/>
            <a:ext cx="11460164" cy="352800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2400" i="0">
                <a:solidFill>
                  <a:schemeClr val="tx1"/>
                </a:solidFill>
                <a:latin typeface="+mn-lt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/>
              <a:t>Click to enter slide subtitle</a:t>
            </a:r>
          </a:p>
        </p:txBody>
      </p:sp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099DCD39-6F77-D442-9C41-7FE9A4CBB7FE}"/>
              </a:ext>
            </a:extLst>
          </p:cNvPr>
          <p:cNvSpPr/>
          <p:nvPr/>
        </p:nvSpPr>
        <p:spPr>
          <a:xfrm>
            <a:off x="0" y="184645"/>
            <a:ext cx="264043" cy="559397"/>
          </a:xfrm>
          <a:custGeom>
            <a:avLst/>
            <a:gdLst>
              <a:gd name="connsiteX0" fmla="*/ 0 w 857257"/>
              <a:gd name="connsiteY0" fmla="*/ 0 h 1816170"/>
              <a:gd name="connsiteX1" fmla="*/ 841477 w 857257"/>
              <a:gd name="connsiteY1" fmla="*/ 890550 h 1816170"/>
              <a:gd name="connsiteX2" fmla="*/ 841477 w 857257"/>
              <a:gd name="connsiteY2" fmla="*/ 925611 h 1816170"/>
              <a:gd name="connsiteX3" fmla="*/ 0 w 857257"/>
              <a:gd name="connsiteY3" fmla="*/ 1816170 h 1816170"/>
              <a:gd name="connsiteX4" fmla="*/ 0 w 857257"/>
              <a:gd name="connsiteY4" fmla="*/ 0 h 18161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57257" h="1816170">
                <a:moveTo>
                  <a:pt x="0" y="0"/>
                </a:moveTo>
                <a:cubicBezTo>
                  <a:pt x="0" y="462811"/>
                  <a:pt x="301523" y="743293"/>
                  <a:pt x="841477" y="890550"/>
                </a:cubicBezTo>
                <a:cubicBezTo>
                  <a:pt x="862517" y="897560"/>
                  <a:pt x="862517" y="918601"/>
                  <a:pt x="841477" y="925611"/>
                </a:cubicBezTo>
                <a:cubicBezTo>
                  <a:pt x="301523" y="1072868"/>
                  <a:pt x="0" y="1353360"/>
                  <a:pt x="0" y="181617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dirty="0"/>
          </a:p>
        </p:txBody>
      </p:sp>
      <p:sp>
        <p:nvSpPr>
          <p:cNvPr id="2" name="Freeform: Shape 1">
            <a:extLst>
              <a:ext uri="{FF2B5EF4-FFF2-40B4-BE49-F238E27FC236}">
                <a16:creationId xmlns:a16="http://schemas.microsoft.com/office/drawing/2014/main" id="{B0002D55-6A06-5683-C312-CA5DFDAEEB11}"/>
              </a:ext>
            </a:extLst>
          </p:cNvPr>
          <p:cNvSpPr/>
          <p:nvPr userDrawn="1"/>
        </p:nvSpPr>
        <p:spPr>
          <a:xfrm>
            <a:off x="0" y="184645"/>
            <a:ext cx="264043" cy="559397"/>
          </a:xfrm>
          <a:custGeom>
            <a:avLst/>
            <a:gdLst>
              <a:gd name="connsiteX0" fmla="*/ 0 w 857257"/>
              <a:gd name="connsiteY0" fmla="*/ 0 h 1816170"/>
              <a:gd name="connsiteX1" fmla="*/ 841477 w 857257"/>
              <a:gd name="connsiteY1" fmla="*/ 890550 h 1816170"/>
              <a:gd name="connsiteX2" fmla="*/ 841477 w 857257"/>
              <a:gd name="connsiteY2" fmla="*/ 925611 h 1816170"/>
              <a:gd name="connsiteX3" fmla="*/ 0 w 857257"/>
              <a:gd name="connsiteY3" fmla="*/ 1816170 h 1816170"/>
              <a:gd name="connsiteX4" fmla="*/ 0 w 857257"/>
              <a:gd name="connsiteY4" fmla="*/ 0 h 18161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57257" h="1816170">
                <a:moveTo>
                  <a:pt x="0" y="0"/>
                </a:moveTo>
                <a:cubicBezTo>
                  <a:pt x="0" y="462811"/>
                  <a:pt x="301523" y="743293"/>
                  <a:pt x="841477" y="890550"/>
                </a:cubicBezTo>
                <a:cubicBezTo>
                  <a:pt x="862517" y="897560"/>
                  <a:pt x="862517" y="918601"/>
                  <a:pt x="841477" y="925611"/>
                </a:cubicBezTo>
                <a:cubicBezTo>
                  <a:pt x="301523" y="1072868"/>
                  <a:pt x="0" y="1353360"/>
                  <a:pt x="0" y="181617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0832701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rge 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5"/>
          <p:cNvSpPr>
            <a:spLocks noGrp="1"/>
          </p:cNvSpPr>
          <p:nvPr>
            <p:ph type="body" sz="quarter" idx="18" hasCustomPrompt="1"/>
          </p:nvPr>
        </p:nvSpPr>
        <p:spPr>
          <a:xfrm>
            <a:off x="365125" y="5792438"/>
            <a:ext cx="11460163" cy="298800"/>
          </a:xfrm>
          <a:prstGeom prst="rect">
            <a:avLst/>
          </a:prstGeom>
        </p:spPr>
        <p:txBody>
          <a:bodyPr wrap="square" lIns="0" tIns="0" rIns="0" bIns="0" anchor="b" anchorCtr="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800" baseline="0"/>
            </a:lvl1pPr>
            <a:lvl2pPr marL="357542" indent="0">
              <a:buNone/>
              <a:defRPr sz="1067"/>
            </a:lvl2pPr>
            <a:lvl3pPr marL="719982" indent="0">
              <a:buNone/>
              <a:defRPr sz="1067"/>
            </a:lvl3pPr>
            <a:lvl4pPr marL="1081424" indent="0">
              <a:buNone/>
              <a:defRPr sz="1067"/>
            </a:lvl4pPr>
            <a:lvl5pPr marL="1439964" indent="0">
              <a:buNone/>
              <a:defRPr sz="1067"/>
            </a:lvl5pPr>
          </a:lstStyle>
          <a:p>
            <a:pPr lvl="0"/>
            <a:r>
              <a:rPr lang="en-GB"/>
              <a:t>Insert Source text here</a:t>
            </a:r>
            <a:endParaRPr lang="en-GB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2E151742-951B-4B8B-93F8-F6814A0074E2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fld id="{397F4CD0-83C1-4C99-A2BD-6DA4A1CC9D00}" type="datetime4">
              <a:rPr lang="en-GB" smtClean="0"/>
              <a:t>22 September 2025</a:t>
            </a:fld>
            <a:endParaRPr lang="en-GB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5E4920F6-7DEA-40DB-B124-F0789E56046F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4DDB722-CBB2-49EC-937E-10206DEB6BD1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9F9F533D-B52E-4A2F-BF72-0ADD2D94BD75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D4E53DDB-FDB6-66D3-FC50-5426FF978D7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65125" y="1303338"/>
            <a:ext cx="11460163" cy="4489450"/>
          </a:xfrm>
        </p:spPr>
        <p:txBody>
          <a:bodyPr lIns="36000" tIns="36000" rIns="36000" bIns="36000">
            <a:noAutofit/>
          </a:bodyPr>
          <a:lstStyle>
            <a:lvl1pPr marL="0" indent="0">
              <a:buNone/>
              <a:defRPr/>
            </a:lvl1pPr>
            <a:lvl2pPr marL="357542" indent="0">
              <a:buNone/>
              <a:defRPr/>
            </a:lvl2pPr>
            <a:lvl3pPr marL="719982" indent="0">
              <a:buNone/>
              <a:defRPr/>
            </a:lvl3pPr>
            <a:lvl4pPr marL="1081424" indent="0">
              <a:buNone/>
              <a:defRPr/>
            </a:lvl4pPr>
            <a:lvl5pPr marL="1439964" indent="0">
              <a:buNone/>
              <a:defRPr/>
            </a:lvl5pPr>
          </a:lstStyle>
          <a:p>
            <a:pPr lvl="0"/>
            <a:r>
              <a:rPr lang="en-US" dirty="0"/>
              <a:t>Click to enter TEXT content ONLY. </a:t>
            </a:r>
            <a:br>
              <a:rPr lang="en-US" dirty="0"/>
            </a:br>
            <a:r>
              <a:rPr lang="en-US" dirty="0"/>
              <a:t>If text content appears too large please reduce the size of this font. 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3A7A86B9-637F-F18A-3604-5A44F7C4442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5125" y="242888"/>
            <a:ext cx="11460163" cy="43088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5A89E078-B97D-529E-FF83-DF5AD69D51F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5125" y="694950"/>
            <a:ext cx="11460164" cy="352800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2400" i="0">
                <a:solidFill>
                  <a:schemeClr val="tx1"/>
                </a:solidFill>
                <a:latin typeface="+mn-lt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/>
              <a:t>Click to enter slide subtitle</a:t>
            </a:r>
          </a:p>
        </p:txBody>
      </p:sp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22D601A5-6CEE-D258-CCEB-85D1BB27BD87}"/>
              </a:ext>
            </a:extLst>
          </p:cNvPr>
          <p:cNvSpPr/>
          <p:nvPr/>
        </p:nvSpPr>
        <p:spPr>
          <a:xfrm>
            <a:off x="0" y="184645"/>
            <a:ext cx="264043" cy="559397"/>
          </a:xfrm>
          <a:custGeom>
            <a:avLst/>
            <a:gdLst>
              <a:gd name="connsiteX0" fmla="*/ 0 w 857257"/>
              <a:gd name="connsiteY0" fmla="*/ 0 h 1816170"/>
              <a:gd name="connsiteX1" fmla="*/ 841477 w 857257"/>
              <a:gd name="connsiteY1" fmla="*/ 890550 h 1816170"/>
              <a:gd name="connsiteX2" fmla="*/ 841477 w 857257"/>
              <a:gd name="connsiteY2" fmla="*/ 925611 h 1816170"/>
              <a:gd name="connsiteX3" fmla="*/ 0 w 857257"/>
              <a:gd name="connsiteY3" fmla="*/ 1816170 h 1816170"/>
              <a:gd name="connsiteX4" fmla="*/ 0 w 857257"/>
              <a:gd name="connsiteY4" fmla="*/ 0 h 18161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57257" h="1816170">
                <a:moveTo>
                  <a:pt x="0" y="0"/>
                </a:moveTo>
                <a:cubicBezTo>
                  <a:pt x="0" y="462811"/>
                  <a:pt x="301523" y="743293"/>
                  <a:pt x="841477" y="890550"/>
                </a:cubicBezTo>
                <a:cubicBezTo>
                  <a:pt x="862517" y="897560"/>
                  <a:pt x="862517" y="918601"/>
                  <a:pt x="841477" y="925611"/>
                </a:cubicBezTo>
                <a:cubicBezTo>
                  <a:pt x="301523" y="1072868"/>
                  <a:pt x="0" y="1353360"/>
                  <a:pt x="0" y="181617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dirty="0"/>
          </a:p>
        </p:txBody>
      </p:sp>
      <p:sp>
        <p:nvSpPr>
          <p:cNvPr id="5" name="Freeform: Shape 4">
            <a:extLst>
              <a:ext uri="{FF2B5EF4-FFF2-40B4-BE49-F238E27FC236}">
                <a16:creationId xmlns:a16="http://schemas.microsoft.com/office/drawing/2014/main" id="{2CA69924-8312-93A7-5F21-75AD30BAD2DF}"/>
              </a:ext>
            </a:extLst>
          </p:cNvPr>
          <p:cNvSpPr/>
          <p:nvPr userDrawn="1"/>
        </p:nvSpPr>
        <p:spPr>
          <a:xfrm>
            <a:off x="0" y="184645"/>
            <a:ext cx="264043" cy="559397"/>
          </a:xfrm>
          <a:custGeom>
            <a:avLst/>
            <a:gdLst>
              <a:gd name="connsiteX0" fmla="*/ 0 w 857257"/>
              <a:gd name="connsiteY0" fmla="*/ 0 h 1816170"/>
              <a:gd name="connsiteX1" fmla="*/ 841477 w 857257"/>
              <a:gd name="connsiteY1" fmla="*/ 890550 h 1816170"/>
              <a:gd name="connsiteX2" fmla="*/ 841477 w 857257"/>
              <a:gd name="connsiteY2" fmla="*/ 925611 h 1816170"/>
              <a:gd name="connsiteX3" fmla="*/ 0 w 857257"/>
              <a:gd name="connsiteY3" fmla="*/ 1816170 h 1816170"/>
              <a:gd name="connsiteX4" fmla="*/ 0 w 857257"/>
              <a:gd name="connsiteY4" fmla="*/ 0 h 18161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57257" h="1816170">
                <a:moveTo>
                  <a:pt x="0" y="0"/>
                </a:moveTo>
                <a:cubicBezTo>
                  <a:pt x="0" y="462811"/>
                  <a:pt x="301523" y="743293"/>
                  <a:pt x="841477" y="890550"/>
                </a:cubicBezTo>
                <a:cubicBezTo>
                  <a:pt x="862517" y="897560"/>
                  <a:pt x="862517" y="918601"/>
                  <a:pt x="841477" y="925611"/>
                </a:cubicBezTo>
                <a:cubicBezTo>
                  <a:pt x="301523" y="1072868"/>
                  <a:pt x="0" y="1353360"/>
                  <a:pt x="0" y="181617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2961862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 with Sub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365456" y="1303338"/>
            <a:ext cx="11460701" cy="399600"/>
          </a:xfrm>
          <a:prstGeom prst="rect">
            <a:avLst/>
          </a:prstGeom>
        </p:spPr>
        <p:txBody>
          <a:bodyPr lIns="36000" tIns="36000" rIns="36000" bIns="36000" anchor="t" anchorCtr="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2400" b="1">
                <a:solidFill>
                  <a:schemeClr val="tx2"/>
                </a:solidFill>
              </a:defRPr>
            </a:lvl1pPr>
            <a:lvl2pPr marL="361942" indent="0">
              <a:buNone/>
              <a:defRPr/>
            </a:lvl2pPr>
            <a:lvl3pPr marL="711182" indent="0">
              <a:buNone/>
              <a:defRPr/>
            </a:lvl3pPr>
            <a:lvl4pPr marL="1087939" indent="0">
              <a:buNone/>
              <a:defRPr/>
            </a:lvl4pPr>
            <a:lvl5pPr marL="1473163" indent="0">
              <a:buNone/>
              <a:defRPr/>
            </a:lvl5pPr>
          </a:lstStyle>
          <a:p>
            <a:pPr lvl="0"/>
            <a:r>
              <a:rPr lang="en-GB" dirty="0"/>
              <a:t>Click to enter subheading text </a:t>
            </a:r>
          </a:p>
        </p:txBody>
      </p:sp>
      <p:sp>
        <p:nvSpPr>
          <p:cNvPr id="16" name="Text Placeholder 5"/>
          <p:cNvSpPr>
            <a:spLocks noGrp="1"/>
          </p:cNvSpPr>
          <p:nvPr>
            <p:ph type="body" sz="quarter" idx="18" hasCustomPrompt="1"/>
          </p:nvPr>
        </p:nvSpPr>
        <p:spPr>
          <a:xfrm>
            <a:off x="365125" y="5792438"/>
            <a:ext cx="11460164" cy="298800"/>
          </a:xfrm>
          <a:prstGeom prst="rect">
            <a:avLst/>
          </a:prstGeom>
        </p:spPr>
        <p:txBody>
          <a:bodyPr wrap="square" lIns="0" tIns="0" rIns="0" bIns="0" anchor="b" anchorCtr="0"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Arial" pitchFamily="34" charset="0"/>
              <a:buNone/>
              <a:tabLst/>
              <a:defRPr sz="800" baseline="0"/>
            </a:lvl1pPr>
            <a:lvl2pPr marL="357542" indent="0">
              <a:buNone/>
              <a:defRPr sz="1067"/>
            </a:lvl2pPr>
            <a:lvl3pPr marL="719982" indent="0">
              <a:buNone/>
              <a:defRPr sz="1067"/>
            </a:lvl3pPr>
            <a:lvl4pPr marL="1081424" indent="0">
              <a:buNone/>
              <a:defRPr sz="1067"/>
            </a:lvl4pPr>
            <a:lvl5pPr marL="1439964" indent="0">
              <a:buNone/>
              <a:defRPr sz="1067"/>
            </a:lvl5pPr>
          </a:lstStyle>
          <a:p>
            <a:pPr lvl="0"/>
            <a:r>
              <a:rPr lang="en-GB" dirty="0"/>
              <a:t>Insert Source text her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C475D1F-3C7D-443F-9C73-9160E439AE1B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5C36D2BF-D8B1-4705-ABD7-209D78E9EBFF}" type="datetime4">
              <a:rPr lang="en-GB" smtClean="0"/>
              <a:t>22 September 2025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E10FAE2-40C5-48E8-A896-0682681B6AC4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2AF230C5-C173-4CDF-8F46-DDF8D7240B63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9F9F533D-B52E-4A2F-BF72-0ADD2D94BD75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1E07AE8-19F2-04D9-93C9-C4F2357C2ADF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65125" y="1702938"/>
            <a:ext cx="11460163" cy="4089850"/>
          </a:xfrm>
        </p:spPr>
        <p:txBody>
          <a:bodyPr lIns="36000" tIns="36000" rIns="36000" bIns="36000">
            <a:noAutofit/>
          </a:bodyPr>
          <a:lstStyle>
            <a:lvl1pPr marL="0" indent="0">
              <a:buNone/>
              <a:defRPr/>
            </a:lvl1pPr>
            <a:lvl2pPr marL="357542" indent="0">
              <a:buNone/>
              <a:defRPr/>
            </a:lvl2pPr>
            <a:lvl3pPr marL="719982" indent="0">
              <a:buNone/>
              <a:defRPr/>
            </a:lvl3pPr>
            <a:lvl4pPr marL="1081424" indent="0">
              <a:buNone/>
              <a:defRPr/>
            </a:lvl4pPr>
            <a:lvl5pPr marL="1439964" indent="0">
              <a:buNone/>
              <a:defRPr/>
            </a:lvl5pPr>
          </a:lstStyle>
          <a:p>
            <a:pPr lvl="0"/>
            <a:r>
              <a:rPr lang="en-US" dirty="0"/>
              <a:t>Click to edit TEXT content ONLY.</a:t>
            </a:r>
            <a:br>
              <a:rPr lang="en-US" dirty="0"/>
            </a:br>
            <a:r>
              <a:rPr lang="en-US" dirty="0"/>
              <a:t>If text content appears too large please reduce the size of the font. 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E4BDB392-CCE1-B2F2-5843-4AF9AE7D492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5125" y="242888"/>
            <a:ext cx="11460163" cy="43088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29D93444-D1FE-4C3C-7B81-D2693144C1F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5125" y="694950"/>
            <a:ext cx="11460164" cy="352800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2400" i="0">
                <a:solidFill>
                  <a:schemeClr val="tx1"/>
                </a:solidFill>
                <a:latin typeface="+mn-lt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/>
              <a:t>Click to enter slide subtitle</a:t>
            </a:r>
          </a:p>
        </p:txBody>
      </p:sp>
      <p:sp>
        <p:nvSpPr>
          <p:cNvPr id="15" name="Freeform: Shape 14">
            <a:extLst>
              <a:ext uri="{FF2B5EF4-FFF2-40B4-BE49-F238E27FC236}">
                <a16:creationId xmlns:a16="http://schemas.microsoft.com/office/drawing/2014/main" id="{C45A9796-316D-7A43-F981-F6A071B72BBE}"/>
              </a:ext>
            </a:extLst>
          </p:cNvPr>
          <p:cNvSpPr/>
          <p:nvPr/>
        </p:nvSpPr>
        <p:spPr>
          <a:xfrm>
            <a:off x="0" y="184645"/>
            <a:ext cx="264043" cy="559397"/>
          </a:xfrm>
          <a:custGeom>
            <a:avLst/>
            <a:gdLst>
              <a:gd name="connsiteX0" fmla="*/ 0 w 857257"/>
              <a:gd name="connsiteY0" fmla="*/ 0 h 1816170"/>
              <a:gd name="connsiteX1" fmla="*/ 841477 w 857257"/>
              <a:gd name="connsiteY1" fmla="*/ 890550 h 1816170"/>
              <a:gd name="connsiteX2" fmla="*/ 841477 w 857257"/>
              <a:gd name="connsiteY2" fmla="*/ 925611 h 1816170"/>
              <a:gd name="connsiteX3" fmla="*/ 0 w 857257"/>
              <a:gd name="connsiteY3" fmla="*/ 1816170 h 1816170"/>
              <a:gd name="connsiteX4" fmla="*/ 0 w 857257"/>
              <a:gd name="connsiteY4" fmla="*/ 0 h 18161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57257" h="1816170">
                <a:moveTo>
                  <a:pt x="0" y="0"/>
                </a:moveTo>
                <a:cubicBezTo>
                  <a:pt x="0" y="462811"/>
                  <a:pt x="301523" y="743293"/>
                  <a:pt x="841477" y="890550"/>
                </a:cubicBezTo>
                <a:cubicBezTo>
                  <a:pt x="862517" y="897560"/>
                  <a:pt x="862517" y="918601"/>
                  <a:pt x="841477" y="925611"/>
                </a:cubicBezTo>
                <a:cubicBezTo>
                  <a:pt x="301523" y="1072868"/>
                  <a:pt x="0" y="1353360"/>
                  <a:pt x="0" y="181617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dirty="0"/>
          </a:p>
        </p:txBody>
      </p:sp>
      <p:sp>
        <p:nvSpPr>
          <p:cNvPr id="2" name="Freeform: Shape 1">
            <a:extLst>
              <a:ext uri="{FF2B5EF4-FFF2-40B4-BE49-F238E27FC236}">
                <a16:creationId xmlns:a16="http://schemas.microsoft.com/office/drawing/2014/main" id="{1B1F1611-ED93-9CD1-6AD6-199DF0E35EEA}"/>
              </a:ext>
            </a:extLst>
          </p:cNvPr>
          <p:cNvSpPr/>
          <p:nvPr userDrawn="1"/>
        </p:nvSpPr>
        <p:spPr>
          <a:xfrm>
            <a:off x="0" y="184645"/>
            <a:ext cx="264043" cy="559397"/>
          </a:xfrm>
          <a:custGeom>
            <a:avLst/>
            <a:gdLst>
              <a:gd name="connsiteX0" fmla="*/ 0 w 857257"/>
              <a:gd name="connsiteY0" fmla="*/ 0 h 1816170"/>
              <a:gd name="connsiteX1" fmla="*/ 841477 w 857257"/>
              <a:gd name="connsiteY1" fmla="*/ 890550 h 1816170"/>
              <a:gd name="connsiteX2" fmla="*/ 841477 w 857257"/>
              <a:gd name="connsiteY2" fmla="*/ 925611 h 1816170"/>
              <a:gd name="connsiteX3" fmla="*/ 0 w 857257"/>
              <a:gd name="connsiteY3" fmla="*/ 1816170 h 1816170"/>
              <a:gd name="connsiteX4" fmla="*/ 0 w 857257"/>
              <a:gd name="connsiteY4" fmla="*/ 0 h 18161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57257" h="1816170">
                <a:moveTo>
                  <a:pt x="0" y="0"/>
                </a:moveTo>
                <a:cubicBezTo>
                  <a:pt x="0" y="462811"/>
                  <a:pt x="301523" y="743293"/>
                  <a:pt x="841477" y="890550"/>
                </a:cubicBezTo>
                <a:cubicBezTo>
                  <a:pt x="862517" y="897560"/>
                  <a:pt x="862517" y="918601"/>
                  <a:pt x="841477" y="925611"/>
                </a:cubicBezTo>
                <a:cubicBezTo>
                  <a:pt x="301523" y="1072868"/>
                  <a:pt x="0" y="1353360"/>
                  <a:pt x="0" y="181617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588065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44152BBA-B0F3-390F-177B-A659A0DA6DDB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172451" y="1303338"/>
            <a:ext cx="3652838" cy="4477804"/>
          </a:xfrm>
          <a:prstGeom prst="roundRect">
            <a:avLst>
              <a:gd name="adj" fmla="val 4976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>
            <a:noAutofit/>
          </a:bodyPr>
          <a:lstStyle>
            <a:lvl1pPr marL="0" indent="0">
              <a:buNone/>
              <a:defRPr/>
            </a:lvl1pPr>
            <a:lvl2pPr marL="357542" indent="0">
              <a:buNone/>
              <a:defRPr/>
            </a:lvl2pPr>
            <a:lvl3pPr marL="719982" indent="0">
              <a:buNone/>
              <a:defRPr/>
            </a:lvl3pPr>
            <a:lvl4pPr marL="1081424" indent="0">
              <a:buNone/>
              <a:defRPr/>
            </a:lvl4pPr>
            <a:lvl5pPr marL="1439964" indent="0">
              <a:buNone/>
              <a:defRPr/>
            </a:lvl5pPr>
          </a:lstStyle>
          <a:p>
            <a:pPr lvl="0"/>
            <a:r>
              <a:rPr lang="en-US" dirty="0"/>
              <a:t>Click to edit TEXT content ONLY. </a:t>
            </a:r>
            <a:br>
              <a:rPr lang="en-US" dirty="0"/>
            </a:br>
            <a:r>
              <a:rPr lang="en-US" dirty="0"/>
              <a:t>If text content appears outside of the grey placeholder please reduce the size of the font. </a:t>
            </a:r>
          </a:p>
        </p:txBody>
      </p:sp>
      <p:sp>
        <p:nvSpPr>
          <p:cNvPr id="20" name="Text Placeholder 5"/>
          <p:cNvSpPr>
            <a:spLocks noGrp="1"/>
          </p:cNvSpPr>
          <p:nvPr>
            <p:ph type="body" sz="quarter" idx="20" hasCustomPrompt="1"/>
          </p:nvPr>
        </p:nvSpPr>
        <p:spPr>
          <a:xfrm>
            <a:off x="8172451" y="5791943"/>
            <a:ext cx="3652837" cy="298800"/>
          </a:xfrm>
          <a:prstGeom prst="rect">
            <a:avLst/>
          </a:prstGeom>
        </p:spPr>
        <p:txBody>
          <a:bodyPr wrap="square" lIns="0" tIns="0" rIns="0" bIns="0" anchor="b" anchorCtr="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800" baseline="0"/>
            </a:lvl1pPr>
            <a:lvl2pPr marL="357542" indent="0">
              <a:buNone/>
              <a:defRPr sz="1067"/>
            </a:lvl2pPr>
            <a:lvl3pPr marL="719982" indent="0">
              <a:buNone/>
              <a:defRPr sz="1067"/>
            </a:lvl3pPr>
            <a:lvl4pPr marL="1081424" indent="0">
              <a:buNone/>
              <a:defRPr sz="1067"/>
            </a:lvl4pPr>
            <a:lvl5pPr marL="1439964" indent="0">
              <a:buNone/>
              <a:defRPr sz="1067"/>
            </a:lvl5pPr>
          </a:lstStyle>
          <a:p>
            <a:pPr lvl="0"/>
            <a:r>
              <a:rPr lang="en-GB"/>
              <a:t>Insert Source text here</a:t>
            </a:r>
            <a:endParaRPr lang="en-GB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101A55F3-CAC9-450A-8B8C-0D0326082407}"/>
              </a:ext>
            </a:extLst>
          </p:cNvPr>
          <p:cNvSpPr>
            <a:spLocks noGrp="1"/>
          </p:cNvSpPr>
          <p:nvPr>
            <p:ph type="dt" sz="half" idx="21"/>
          </p:nvPr>
        </p:nvSpPr>
        <p:spPr/>
        <p:txBody>
          <a:bodyPr/>
          <a:lstStyle/>
          <a:p>
            <a:fld id="{39AF67FF-E09E-42E7-8CF4-0C88178FECBB}" type="datetime4">
              <a:rPr lang="en-GB" smtClean="0"/>
              <a:t>22 September 2025</a:t>
            </a:fld>
            <a:endParaRPr lang="en-GB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FA6F4AF4-B7CB-44A2-A774-A5EE13FDE7C2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A690446-B95A-4BA4-8B97-68649C262B11}"/>
              </a:ext>
            </a:extLst>
          </p:cNvPr>
          <p:cNvSpPr>
            <a:spLocks noGrp="1"/>
          </p:cNvSpPr>
          <p:nvPr>
            <p:ph type="sldNum" sz="quarter" idx="23"/>
          </p:nvPr>
        </p:nvSpPr>
        <p:spPr/>
        <p:txBody>
          <a:bodyPr/>
          <a:lstStyle/>
          <a:p>
            <a:fld id="{9F9F533D-B52E-4A2F-BF72-0ADD2D94BD75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9" name="Text Placeholder 5"/>
          <p:cNvSpPr>
            <a:spLocks noGrp="1"/>
          </p:cNvSpPr>
          <p:nvPr>
            <p:ph type="body" sz="quarter" idx="19" hasCustomPrompt="1"/>
          </p:nvPr>
        </p:nvSpPr>
        <p:spPr>
          <a:xfrm>
            <a:off x="365125" y="5791943"/>
            <a:ext cx="7554913" cy="299295"/>
          </a:xfrm>
          <a:prstGeom prst="rect">
            <a:avLst/>
          </a:prstGeom>
        </p:spPr>
        <p:txBody>
          <a:bodyPr wrap="square" lIns="0" tIns="0" rIns="0" bIns="0" anchor="b" anchorCtr="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800" baseline="0"/>
            </a:lvl1pPr>
            <a:lvl2pPr marL="357542" indent="0">
              <a:buNone/>
              <a:defRPr sz="1067"/>
            </a:lvl2pPr>
            <a:lvl3pPr marL="719982" indent="0">
              <a:buNone/>
              <a:defRPr sz="1067"/>
            </a:lvl3pPr>
            <a:lvl4pPr marL="1081424" indent="0">
              <a:buNone/>
              <a:defRPr sz="1067"/>
            </a:lvl4pPr>
            <a:lvl5pPr marL="1439964" indent="0">
              <a:buNone/>
              <a:defRPr sz="1067"/>
            </a:lvl5pPr>
          </a:lstStyle>
          <a:p>
            <a:pPr lvl="0"/>
            <a:r>
              <a:rPr lang="en-GB"/>
              <a:t>Insert Source text here</a:t>
            </a:r>
            <a:endParaRPr lang="en-GB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B643D66-CBAC-8A3C-D941-445E2D7EFCEE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65125" y="1303338"/>
            <a:ext cx="7554913" cy="4478337"/>
          </a:xfrm>
        </p:spPr>
        <p:txBody>
          <a:bodyPr lIns="36000" tIns="90000" rIns="36000" bIns="36000">
            <a:noAutofit/>
          </a:bodyPr>
          <a:lstStyle>
            <a:lvl1pPr marL="0" indent="0">
              <a:buNone/>
              <a:defRPr/>
            </a:lvl1pPr>
            <a:lvl2pPr marL="357542" indent="0">
              <a:buNone/>
              <a:defRPr/>
            </a:lvl2pPr>
            <a:lvl3pPr marL="719982" indent="0">
              <a:buNone/>
              <a:defRPr/>
            </a:lvl3pPr>
            <a:lvl4pPr marL="1081424" indent="0">
              <a:buNone/>
              <a:defRPr/>
            </a:lvl4pPr>
            <a:lvl5pPr marL="1439964" indent="0">
              <a:buNone/>
              <a:defRPr/>
            </a:lvl5pPr>
          </a:lstStyle>
          <a:p>
            <a:pPr lvl="0"/>
            <a:r>
              <a:rPr lang="en-US" dirty="0"/>
              <a:t>Click to enter TEXT content ONLY.</a:t>
            </a:r>
            <a:br>
              <a:rPr lang="en-US" dirty="0"/>
            </a:br>
            <a:r>
              <a:rPr lang="en-US" dirty="0"/>
              <a:t>If text content appears too large please reduce the size of the font. </a:t>
            </a: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8C40724D-5874-C573-BE68-E74D3056C42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5125" y="242888"/>
            <a:ext cx="11460163" cy="43088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6DDC75F0-FC33-50C5-4836-14CADF87FA8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5125" y="694950"/>
            <a:ext cx="11460164" cy="352800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2400" i="0">
                <a:solidFill>
                  <a:schemeClr val="tx1"/>
                </a:solidFill>
                <a:latin typeface="+mn-lt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/>
              <a:t>Click to enter slide subtitle</a:t>
            </a:r>
          </a:p>
        </p:txBody>
      </p:sp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7ED293B4-51DD-6A15-3268-DC88E0FC951D}"/>
              </a:ext>
            </a:extLst>
          </p:cNvPr>
          <p:cNvSpPr/>
          <p:nvPr/>
        </p:nvSpPr>
        <p:spPr>
          <a:xfrm>
            <a:off x="0" y="184645"/>
            <a:ext cx="264043" cy="559397"/>
          </a:xfrm>
          <a:custGeom>
            <a:avLst/>
            <a:gdLst>
              <a:gd name="connsiteX0" fmla="*/ 0 w 857257"/>
              <a:gd name="connsiteY0" fmla="*/ 0 h 1816170"/>
              <a:gd name="connsiteX1" fmla="*/ 841477 w 857257"/>
              <a:gd name="connsiteY1" fmla="*/ 890550 h 1816170"/>
              <a:gd name="connsiteX2" fmla="*/ 841477 w 857257"/>
              <a:gd name="connsiteY2" fmla="*/ 925611 h 1816170"/>
              <a:gd name="connsiteX3" fmla="*/ 0 w 857257"/>
              <a:gd name="connsiteY3" fmla="*/ 1816170 h 1816170"/>
              <a:gd name="connsiteX4" fmla="*/ 0 w 857257"/>
              <a:gd name="connsiteY4" fmla="*/ 0 h 18161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57257" h="1816170">
                <a:moveTo>
                  <a:pt x="0" y="0"/>
                </a:moveTo>
                <a:cubicBezTo>
                  <a:pt x="0" y="462811"/>
                  <a:pt x="301523" y="743293"/>
                  <a:pt x="841477" y="890550"/>
                </a:cubicBezTo>
                <a:cubicBezTo>
                  <a:pt x="862517" y="897560"/>
                  <a:pt x="862517" y="918601"/>
                  <a:pt x="841477" y="925611"/>
                </a:cubicBezTo>
                <a:cubicBezTo>
                  <a:pt x="301523" y="1072868"/>
                  <a:pt x="0" y="1353360"/>
                  <a:pt x="0" y="181617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dirty="0"/>
          </a:p>
        </p:txBody>
      </p:sp>
      <p:sp>
        <p:nvSpPr>
          <p:cNvPr id="2" name="Freeform: Shape 1">
            <a:extLst>
              <a:ext uri="{FF2B5EF4-FFF2-40B4-BE49-F238E27FC236}">
                <a16:creationId xmlns:a16="http://schemas.microsoft.com/office/drawing/2014/main" id="{BB8038B8-901B-5BEE-8CE6-19D62D27912A}"/>
              </a:ext>
            </a:extLst>
          </p:cNvPr>
          <p:cNvSpPr/>
          <p:nvPr userDrawn="1"/>
        </p:nvSpPr>
        <p:spPr>
          <a:xfrm>
            <a:off x="0" y="184645"/>
            <a:ext cx="264043" cy="559397"/>
          </a:xfrm>
          <a:custGeom>
            <a:avLst/>
            <a:gdLst>
              <a:gd name="connsiteX0" fmla="*/ 0 w 857257"/>
              <a:gd name="connsiteY0" fmla="*/ 0 h 1816170"/>
              <a:gd name="connsiteX1" fmla="*/ 841477 w 857257"/>
              <a:gd name="connsiteY1" fmla="*/ 890550 h 1816170"/>
              <a:gd name="connsiteX2" fmla="*/ 841477 w 857257"/>
              <a:gd name="connsiteY2" fmla="*/ 925611 h 1816170"/>
              <a:gd name="connsiteX3" fmla="*/ 0 w 857257"/>
              <a:gd name="connsiteY3" fmla="*/ 1816170 h 1816170"/>
              <a:gd name="connsiteX4" fmla="*/ 0 w 857257"/>
              <a:gd name="connsiteY4" fmla="*/ 0 h 18161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57257" h="1816170">
                <a:moveTo>
                  <a:pt x="0" y="0"/>
                </a:moveTo>
                <a:cubicBezTo>
                  <a:pt x="0" y="462811"/>
                  <a:pt x="301523" y="743293"/>
                  <a:pt x="841477" y="890550"/>
                </a:cubicBezTo>
                <a:cubicBezTo>
                  <a:pt x="862517" y="897560"/>
                  <a:pt x="862517" y="918601"/>
                  <a:pt x="841477" y="925611"/>
                </a:cubicBezTo>
                <a:cubicBezTo>
                  <a:pt x="301523" y="1072868"/>
                  <a:pt x="0" y="1353360"/>
                  <a:pt x="0" y="181617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9036168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image" Target="../media/image2.png"/><Relationship Id="rId21" Type="http://schemas.openxmlformats.org/officeDocument/2006/relationships/slideLayout" Target="../slideLayouts/slideLayout21.xml"/><Relationship Id="rId34" Type="http://schemas.openxmlformats.org/officeDocument/2006/relationships/tags" Target="../tags/tag2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theme" Target="../theme/theme1.xml"/><Relationship Id="rId38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oleObject" Target="../embeddings/oleObject1.bin"/><Relationship Id="rId40" Type="http://schemas.openxmlformats.org/officeDocument/2006/relationships/image" Target="../media/image3.sv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tags" Target="../tags/tag4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tags" Target="../tags/tag3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2280360-3C6D-A798-8CAC-A26D562C3683}"/>
              </a:ext>
            </a:extLst>
          </p:cNvPr>
          <p:cNvGraphicFramePr>
            <a:graphicFrameLocks noChangeAspect="1"/>
          </p:cNvGraphicFramePr>
          <p:nvPr>
            <p:custDataLst>
              <p:tags r:id="rId35"/>
            </p:custDataLst>
            <p:extLst>
              <p:ext uri="{D42A27DB-BD31-4B8C-83A1-F6EECF244321}">
                <p14:modId xmlns:p14="http://schemas.microsoft.com/office/powerpoint/2010/main" val="9662590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7" imgW="425" imgH="424" progId="TCLayout.ActiveDocument.1">
                  <p:embed/>
                </p:oleObj>
              </mc:Choice>
              <mc:Fallback>
                <p:oleObj name="think-cell Slide" r:id="rId37" imgW="425" imgH="42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2280360-3C6D-A798-8CAC-A26D562C36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17963" y="6343650"/>
            <a:ext cx="5600700" cy="269875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>
              <a:defRPr sz="12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365125" y="6343650"/>
            <a:ext cx="540000" cy="269875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fld id="{9F9F533D-B52E-4A2F-BF72-0ADD2D94BD75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365125" y="242888"/>
            <a:ext cx="11460163" cy="430887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en-GB" dirty="0"/>
              <a:t>Click to enter slide title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"/>
          </p:nvPr>
        </p:nvSpPr>
        <p:spPr>
          <a:xfrm>
            <a:off x="931069" y="6343650"/>
            <a:ext cx="2776537" cy="269875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fld id="{346B58B4-0D72-4C8B-9355-854FB5782278}" type="datetime4">
              <a:rPr lang="en-GB" smtClean="0"/>
              <a:pPr/>
              <a:t>22 September 2025</a:t>
            </a:fld>
            <a:endParaRPr lang="en-GB" dirty="0"/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BBC2AD35-7761-4742-BEF1-3D0CAD2E1DE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65125" y="1303338"/>
            <a:ext cx="11460163" cy="4787899"/>
          </a:xfrm>
          <a:prstGeom prst="rect">
            <a:avLst/>
          </a:prstGeom>
        </p:spPr>
        <p:txBody>
          <a:bodyPr vert="horz" lIns="36000" tIns="36000" rIns="36000" bIns="36000" rtlCol="0">
            <a:noAutofit/>
          </a:bodyPr>
          <a:lstStyle/>
          <a:p>
            <a:pPr lvl="0"/>
            <a:r>
              <a:rPr lang="en-GB" dirty="0"/>
              <a:t>Click to enter text content.</a:t>
            </a:r>
            <a:br>
              <a:rPr lang="en-GB" dirty="0"/>
            </a:br>
            <a:r>
              <a:rPr lang="en-GB" dirty="0"/>
              <a:t>To increase bullet level, select your text &gt; press ‘Tab’.</a:t>
            </a:r>
            <a:br>
              <a:rPr lang="en-GB" dirty="0"/>
            </a:br>
            <a:r>
              <a:rPr lang="en-GB" dirty="0"/>
              <a:t>To decrease bullet level, select your text &gt; press ‘Shift’ + ‘Tab’.</a:t>
            </a:r>
            <a:br>
              <a:rPr lang="en-GB" dirty="0"/>
            </a:br>
            <a:r>
              <a:rPr lang="en-GB" dirty="0"/>
              <a:t>To remove bullet levels, select your text &gt; right click &gt; press ‘bullets’.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  <a:p>
            <a:pPr lvl="5"/>
            <a:r>
              <a:rPr lang="en-GB" dirty="0"/>
              <a:t>Sixth level</a:t>
            </a:r>
          </a:p>
          <a:p>
            <a:pPr lvl="6"/>
            <a:r>
              <a:rPr lang="en-GB" dirty="0"/>
              <a:t>Seventh level</a:t>
            </a:r>
          </a:p>
          <a:p>
            <a:pPr lvl="7"/>
            <a:r>
              <a:rPr lang="en-GB" dirty="0"/>
              <a:t>Eighth level</a:t>
            </a:r>
          </a:p>
          <a:p>
            <a:pPr lvl="8"/>
            <a:r>
              <a:rPr lang="en-GB" dirty="0"/>
              <a:t>Ninth level</a:t>
            </a:r>
          </a:p>
          <a:p>
            <a:pPr lvl="4"/>
            <a:endParaRPr lang="en-GB" dirty="0"/>
          </a:p>
        </p:txBody>
      </p:sp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68282CB4-0FD8-B104-9321-BA11F035088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6"/>
            </p:custDataLst>
            <p:extLst>
              <p:ext uri="{D42A27DB-BD31-4B8C-83A1-F6EECF244321}">
                <p14:modId xmlns:p14="http://schemas.microsoft.com/office/powerpoint/2010/main" val="9662590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7" imgW="425" imgH="424" progId="TCLayout.ActiveDocument.1">
                  <p:embed/>
                </p:oleObj>
              </mc:Choice>
              <mc:Fallback>
                <p:oleObj name="think-cell Slide" r:id="rId37" imgW="425" imgH="42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68282CB4-0FD8-B104-9321-BA11F035088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Graphic 11">
            <a:extLst>
              <a:ext uri="{FF2B5EF4-FFF2-40B4-BE49-F238E27FC236}">
                <a16:creationId xmlns:a16="http://schemas.microsoft.com/office/drawing/2014/main" id="{58C80CD2-B978-9AC4-69DD-2B943D62C515}"/>
              </a:ext>
            </a:extLst>
          </p:cNvPr>
          <p:cNvPicPr>
            <a:picLocks noChangeAspect="1"/>
          </p:cNvPicPr>
          <p:nvPr userDrawn="1"/>
        </p:nvPicPr>
        <p:blipFill>
          <a:blip r:embed="rId39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0"/>
              </a:ext>
            </a:extLst>
          </a:blip>
          <a:stretch>
            <a:fillRect/>
          </a:stretch>
        </p:blipFill>
        <p:spPr>
          <a:xfrm>
            <a:off x="11004551" y="6354213"/>
            <a:ext cx="820737" cy="247406"/>
          </a:xfrm>
          <a:prstGeom prst="rect">
            <a:avLst/>
          </a:prstGeom>
        </p:spPr>
      </p:pic>
    </p:spTree>
    <p:custDataLst>
      <p:tags r:id="rId34"/>
    </p:custDataLst>
    <p:extLst>
      <p:ext uri="{BB962C8B-B14F-4D97-AF65-F5344CB8AC3E}">
        <p14:creationId xmlns:p14="http://schemas.microsoft.com/office/powerpoint/2010/main" val="34422771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9" r:id="rId1"/>
    <p:sldLayoutId id="2147483790" r:id="rId2"/>
    <p:sldLayoutId id="2147483791" r:id="rId3"/>
    <p:sldLayoutId id="2147483792" r:id="rId4"/>
    <p:sldLayoutId id="2147483793" r:id="rId5"/>
    <p:sldLayoutId id="2147483794" r:id="rId6"/>
    <p:sldLayoutId id="2147483795" r:id="rId7"/>
    <p:sldLayoutId id="2147483796" r:id="rId8"/>
    <p:sldLayoutId id="2147483797" r:id="rId9"/>
    <p:sldLayoutId id="2147483798" r:id="rId10"/>
    <p:sldLayoutId id="2147483799" r:id="rId11"/>
    <p:sldLayoutId id="2147483800" r:id="rId12"/>
    <p:sldLayoutId id="2147483801" r:id="rId13"/>
    <p:sldLayoutId id="2147483802" r:id="rId14"/>
    <p:sldLayoutId id="2147483803" r:id="rId15"/>
    <p:sldLayoutId id="2147483804" r:id="rId16"/>
    <p:sldLayoutId id="2147483805" r:id="rId17"/>
    <p:sldLayoutId id="2147483806" r:id="rId18"/>
    <p:sldLayoutId id="2147483807" r:id="rId19"/>
    <p:sldLayoutId id="2147483808" r:id="rId20"/>
    <p:sldLayoutId id="2147483809" r:id="rId21"/>
    <p:sldLayoutId id="2147483810" r:id="rId22"/>
    <p:sldLayoutId id="2147483811" r:id="rId23"/>
    <p:sldLayoutId id="2147483812" r:id="rId24"/>
    <p:sldLayoutId id="2147483813" r:id="rId25"/>
    <p:sldLayoutId id="2147483814" r:id="rId26"/>
    <p:sldLayoutId id="2147483815" r:id="rId27"/>
    <p:sldLayoutId id="2147483816" r:id="rId28"/>
    <p:sldLayoutId id="2147483817" r:id="rId29"/>
    <p:sldLayoutId id="2147483818" r:id="rId30"/>
    <p:sldLayoutId id="2147483819" r:id="rId31"/>
    <p:sldLayoutId id="2147483820" r:id="rId32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/>
  <p:txStyles>
    <p:titleStyle>
      <a:lvl1pPr algn="l" defTabSz="1219170" rtl="0" eaLnBrk="1" latinLnBrk="0" hangingPunct="1">
        <a:lnSpc>
          <a:spcPct val="100000"/>
        </a:lnSpc>
        <a:spcBef>
          <a:spcPct val="0"/>
        </a:spcBef>
        <a:buNone/>
        <a:defRPr sz="28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359991" indent="-359991" algn="l" defTabSz="1219170" rtl="0" eaLnBrk="1" latinLnBrk="0" hangingPunct="1">
        <a:spcBef>
          <a:spcPts val="300"/>
        </a:spcBef>
        <a:spcAft>
          <a:spcPts val="300"/>
        </a:spcAft>
        <a:buClr>
          <a:schemeClr val="tx2"/>
        </a:buClr>
        <a:buSzPct val="110000"/>
        <a:buFont typeface="Arial" panose="020B0604020202020204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1pPr>
      <a:lvl2pPr marL="717533" indent="-359991" algn="l" defTabSz="1219170" rtl="0" eaLnBrk="1" latinLnBrk="0" hangingPunct="1">
        <a:spcBef>
          <a:spcPts val="300"/>
        </a:spcBef>
        <a:spcAft>
          <a:spcPts val="300"/>
        </a:spcAft>
        <a:buClr>
          <a:schemeClr val="tx1"/>
        </a:buClr>
        <a:buFont typeface="Arial" panose="020B0604020202020204" pitchFamily="34" charset="0"/>
        <a:buChar char="­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079973" indent="-359991" algn="l" defTabSz="1219170" rtl="0" eaLnBrk="1" latinLnBrk="0" hangingPunct="1">
        <a:spcBef>
          <a:spcPts val="300"/>
        </a:spcBef>
        <a:spcAft>
          <a:spcPts val="300"/>
        </a:spcAft>
        <a:buClr>
          <a:schemeClr val="tx1"/>
        </a:buClr>
        <a:buFont typeface="Arial" panose="020B0604020202020204" pitchFamily="34" charset="0"/>
        <a:buChar char="­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441415" indent="-359991" algn="l" defTabSz="1219170" rtl="0" eaLnBrk="1" latinLnBrk="0" hangingPunct="1">
        <a:spcBef>
          <a:spcPts val="300"/>
        </a:spcBef>
        <a:spcAft>
          <a:spcPts val="300"/>
        </a:spcAft>
        <a:buClr>
          <a:schemeClr val="tx1"/>
        </a:buClr>
        <a:buFont typeface="Arial" panose="020B0604020202020204" pitchFamily="34" charset="0"/>
        <a:buChar char="­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799955" indent="-359991" algn="l" defTabSz="1219170" rtl="0" eaLnBrk="1" latinLnBrk="0" hangingPunct="1">
        <a:spcBef>
          <a:spcPts val="300"/>
        </a:spcBef>
        <a:spcAft>
          <a:spcPts val="300"/>
        </a:spcAft>
        <a:buClr>
          <a:schemeClr val="tx1"/>
        </a:buClr>
        <a:buFont typeface="Arial" panose="020B0604020202020204" pitchFamily="34" charset="0"/>
        <a:buChar char="­"/>
        <a:defRPr sz="14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159946" indent="-359991" algn="l" defTabSz="1219170" rtl="0" eaLnBrk="1" latinLnBrk="0" hangingPunct="1">
        <a:spcBef>
          <a:spcPts val="300"/>
        </a:spcBef>
        <a:spcAft>
          <a:spcPts val="300"/>
        </a:spcAft>
        <a:buClr>
          <a:schemeClr val="tx1"/>
        </a:buClr>
        <a:buFont typeface="Arial" panose="020B0604020202020204" pitchFamily="34" charset="0"/>
        <a:buChar char="­"/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2399940" indent="-359991" algn="l" defTabSz="1219170" rtl="0" eaLnBrk="1" latinLnBrk="0" hangingPunct="1">
        <a:spcBef>
          <a:spcPts val="300"/>
        </a:spcBef>
        <a:spcAft>
          <a:spcPts val="300"/>
        </a:spcAft>
        <a:buClr>
          <a:schemeClr val="tx1"/>
        </a:buClr>
        <a:buFont typeface="Arial" panose="020B0604020202020204" pitchFamily="34" charset="0"/>
        <a:buChar char="­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2759931" indent="-359991" algn="l" defTabSz="1219170" rtl="0" eaLnBrk="1" latinLnBrk="0" hangingPunct="1">
        <a:spcBef>
          <a:spcPts val="300"/>
        </a:spcBef>
        <a:spcAft>
          <a:spcPts val="300"/>
        </a:spcAft>
        <a:buClr>
          <a:schemeClr val="tx1"/>
        </a:buClr>
        <a:buFont typeface="Arial" panose="020B0604020202020204" pitchFamily="34" charset="0"/>
        <a:buChar char="­"/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3119922" indent="-359991" algn="l" defTabSz="1219170" rtl="0" eaLnBrk="1" latinLnBrk="0" hangingPunct="1">
        <a:spcBef>
          <a:spcPts val="300"/>
        </a:spcBef>
        <a:spcAft>
          <a:spcPts val="300"/>
        </a:spcAft>
        <a:buClr>
          <a:schemeClr val="tx1"/>
        </a:buClr>
        <a:buFont typeface="Arial" panose="020B0604020202020204" pitchFamily="34" charset="0"/>
        <a:buChar char="­"/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8">
          <p15:clr>
            <a:srgbClr val="A6A6A6"/>
          </p15:clr>
        </p15:guide>
        <p15:guide id="29" pos="7680">
          <p15:clr>
            <a:srgbClr val="A6A6A6"/>
          </p15:clr>
        </p15:guide>
        <p15:guide id="30" pos="230">
          <p15:clr>
            <a:srgbClr val="A6A6A6"/>
          </p15:clr>
        </p15:guide>
        <p15:guide id="31" pos="1301">
          <p15:clr>
            <a:srgbClr val="A6A6A6"/>
          </p15:clr>
        </p15:guide>
        <p15:guide id="32" pos="1461">
          <p15:clr>
            <a:srgbClr val="A6A6A6"/>
          </p15:clr>
        </p15:guide>
        <p15:guide id="33" pos="2531">
          <p15:clr>
            <a:srgbClr val="A6A6A6"/>
          </p15:clr>
        </p15:guide>
        <p15:guide id="34" pos="2690">
          <p15:clr>
            <a:srgbClr val="A6A6A6"/>
          </p15:clr>
        </p15:guide>
        <p15:guide id="35" pos="3759">
          <p15:clr>
            <a:srgbClr val="A6A6A6"/>
          </p15:clr>
        </p15:guide>
        <p15:guide id="36" pos="3920">
          <p15:clr>
            <a:srgbClr val="A6A6A6"/>
          </p15:clr>
        </p15:guide>
        <p15:guide id="37" pos="4989">
          <p15:clr>
            <a:srgbClr val="A6A6A6"/>
          </p15:clr>
        </p15:guide>
        <p15:guide id="38" pos="5148">
          <p15:clr>
            <a:srgbClr val="A6A6A6"/>
          </p15:clr>
        </p15:guide>
        <p15:guide id="39" pos="6218">
          <p15:clr>
            <a:srgbClr val="A6A6A6"/>
          </p15:clr>
        </p15:guide>
        <p15:guide id="40" pos="6378">
          <p15:clr>
            <a:srgbClr val="A6A6A6"/>
          </p15:clr>
        </p15:guide>
        <p15:guide id="41" pos="7449">
          <p15:clr>
            <a:srgbClr val="A6A6A6"/>
          </p15:clr>
        </p15:guide>
        <p15:guide id="42" orient="horz">
          <p15:clr>
            <a:srgbClr val="A6A6A6"/>
          </p15:clr>
        </p15:guide>
        <p15:guide id="43" orient="horz" pos="4315">
          <p15:clr>
            <a:srgbClr val="A6A6A6"/>
          </p15:clr>
        </p15:guide>
        <p15:guide id="44" orient="horz" pos="153">
          <p15:clr>
            <a:srgbClr val="A6A6A6"/>
          </p15:clr>
        </p15:guide>
        <p15:guide id="45" orient="horz" pos="686">
          <p15:clr>
            <a:srgbClr val="A6A6A6"/>
          </p15:clr>
        </p15:guide>
        <p15:guide id="46" orient="horz" pos="821">
          <p15:clr>
            <a:srgbClr val="A6A6A6"/>
          </p15:clr>
        </p15:guide>
        <p15:guide id="47" orient="horz" pos="1323">
          <p15:clr>
            <a:srgbClr val="A6A6A6"/>
          </p15:clr>
        </p15:guide>
        <p15:guide id="48" orient="horz" pos="2330">
          <p15:clr>
            <a:srgbClr val="A6A6A6"/>
          </p15:clr>
        </p15:guide>
        <p15:guide id="49" orient="horz" pos="3335">
          <p15:clr>
            <a:srgbClr val="A6A6A6"/>
          </p15:clr>
        </p15:guide>
        <p15:guide id="50" orient="horz" pos="3837">
          <p15:clr>
            <a:srgbClr val="A6A6A6"/>
          </p15:clr>
        </p15:guide>
        <p15:guide id="51" orient="horz" pos="4166">
          <p15:clr>
            <a:srgbClr val="A6A6A6"/>
          </p15:clr>
        </p15:guide>
        <p15:guide id="52" orient="horz" pos="1827">
          <p15:clr>
            <a:srgbClr val="A4A3A4"/>
          </p15:clr>
        </p15:guide>
        <p15:guide id="53" orient="horz" pos="2832">
          <p15:clr>
            <a:srgbClr val="A4A3A4"/>
          </p15:clr>
        </p15:guide>
        <p15:guide id="54" orient="horz" pos="3996">
          <p15:clr>
            <a:srgbClr val="A4A3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35.xml"/><Relationship Id="rId1" Type="http://schemas.openxmlformats.org/officeDocument/2006/relationships/tags" Target="../tags/tag34.xml"/><Relationship Id="rId6" Type="http://schemas.openxmlformats.org/officeDocument/2006/relationships/image" Target="../media/image17.emf"/><Relationship Id="rId5" Type="http://schemas.openxmlformats.org/officeDocument/2006/relationships/oleObject" Target="../embeddings/oleObject7.bin"/><Relationship Id="rId4" Type="http://schemas.openxmlformats.org/officeDocument/2006/relationships/image" Target="../media/image16.jpeg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jpeg"/><Relationship Id="rId1" Type="http://schemas.openxmlformats.org/officeDocument/2006/relationships/slideLayout" Target="../slideLayouts/slideLayout3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sv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31.xml"/><Relationship Id="rId4" Type="http://schemas.openxmlformats.org/officeDocument/2006/relationships/image" Target="../media/image36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3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3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3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3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3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32.xml"/><Relationship Id="rId4" Type="http://schemas.openxmlformats.org/officeDocument/2006/relationships/image" Target="../media/image29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32.xml"/><Relationship Id="rId4" Type="http://schemas.openxmlformats.org/officeDocument/2006/relationships/image" Target="../media/image32.png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3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A picture containing text, sky, outdoor, resort&#10;&#10;Description automatically generated">
            <a:extLst>
              <a:ext uri="{FF2B5EF4-FFF2-40B4-BE49-F238E27FC236}">
                <a16:creationId xmlns:a16="http://schemas.microsoft.com/office/drawing/2014/main" id="{B294089D-547C-4751-990B-8AD295958776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4284324"/>
          </a:xfrm>
          <a:prstGeom prst="rect">
            <a:avLst/>
          </a:prstGeom>
        </p:spPr>
      </p:pic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974D6CAE-2D82-65F4-A235-7BA68290EC6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06" imgH="306" progId="TCLayout.ActiveDocument.1">
                  <p:embed/>
                </p:oleObj>
              </mc:Choice>
              <mc:Fallback>
                <p:oleObj name="think-cell Slide" r:id="rId5" imgW="306" imgH="30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974D6CAE-2D82-65F4-A235-7BA68290EC6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1733A37B-02D0-8890-CFD2-49C17F16C6C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20700" y="5180182"/>
            <a:ext cx="11150600" cy="548009"/>
          </a:xfrm>
        </p:spPr>
        <p:txBody>
          <a:bodyPr vert="horz"/>
          <a:lstStyle/>
          <a:p>
            <a:r>
              <a:rPr lang="en-GB" sz="4800" dirty="0">
                <a:latin typeface="GSK Precision" pitchFamily="2" charset="0"/>
              </a:rPr>
              <a:t>Welcome to Site Korangi 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9817329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9B4E3F0-5621-2B67-50E9-002D63D4E20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8" name="Picture 4">
            <a:extLst>
              <a:ext uri="{FF2B5EF4-FFF2-40B4-BE49-F238E27FC236}">
                <a16:creationId xmlns:a16="http://schemas.microsoft.com/office/drawing/2014/main" id="{2A93CCF3-B0D1-0306-F018-490271E4303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7040" y="818198"/>
            <a:ext cx="11297921" cy="53997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37027E69-AB19-D48B-FF52-92884DA9AC3A}"/>
              </a:ext>
            </a:extLst>
          </p:cNvPr>
          <p:cNvSpPr txBox="1"/>
          <p:nvPr/>
        </p:nvSpPr>
        <p:spPr>
          <a:xfrm>
            <a:off x="365124" y="104368"/>
            <a:ext cx="8209915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F36633"/>
                </a:solidFill>
                <a:effectLst/>
                <a:uLnTx/>
                <a:uFillTx/>
                <a:latin typeface="Arial"/>
                <a:ea typeface="+mj-ea"/>
                <a:cs typeface="Arial"/>
              </a:rPr>
              <a:t>ENGAGEMENT (SEPA)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8614238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A0D4B78-2251-4955-AC8A-5ACAB1ABC90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544F40"/>
                </a:solidFill>
                <a:effectLst/>
                <a:uLnTx/>
                <a:uFillTx/>
                <a:latin typeface="Arial"/>
                <a:ea typeface="+mn-ea"/>
                <a:cs typeface="Noto Sans"/>
              </a:rPr>
              <a:t>Insert your date / confidentiality text here</a:t>
            </a:r>
            <a:endParaRPr kumimoji="0" lang="en-GB" sz="1000" b="0" i="0" u="none" strike="noStrike" kern="1200" cap="none" spc="0" normalizeH="0" baseline="0" noProof="0">
              <a:ln>
                <a:noFill/>
              </a:ln>
              <a:solidFill>
                <a:srgbClr val="544F40"/>
              </a:solidFill>
              <a:effectLst/>
              <a:uLnTx/>
              <a:uFillTx/>
              <a:latin typeface="Arial"/>
              <a:ea typeface="+mn-ea"/>
              <a:cs typeface="Noto Sans"/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FD43888-266D-4127-877A-ED57052A4CA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544F40"/>
                </a:solidFill>
                <a:effectLst/>
                <a:uLnTx/>
                <a:uFillTx/>
                <a:latin typeface="Arial"/>
                <a:ea typeface="+mn-ea"/>
                <a:cs typeface="Noto Sans"/>
              </a:rPr>
              <a:t>16x9 presentation kit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E0641CD-E456-458B-8F3E-C856F1A6296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F9F533D-B52E-4A2F-BF72-0ADD2D94BD75}" type="slidenum">
              <a:rPr kumimoji="0" lang="en-GB" sz="1000" b="0" i="0" u="none" strike="noStrike" kern="1200" cap="none" spc="0" normalizeH="0" baseline="0" noProof="0">
                <a:ln>
                  <a:noFill/>
                </a:ln>
                <a:solidFill>
                  <a:srgbClr val="544F40"/>
                </a:solidFill>
                <a:effectLst/>
                <a:uLnTx/>
                <a:uFillTx/>
                <a:latin typeface="Arial"/>
                <a:ea typeface="+mn-ea"/>
                <a:cs typeface="Noto Sans"/>
              </a:rPr>
              <a:pPr marL="0" marR="0" lvl="0" indent="0" algn="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GB" sz="1000" b="0" i="0" u="none" strike="noStrike" kern="1200" cap="none" spc="0" normalizeH="0" baseline="0" noProof="0">
              <a:ln>
                <a:noFill/>
              </a:ln>
              <a:solidFill>
                <a:srgbClr val="544F40"/>
              </a:solidFill>
              <a:effectLst/>
              <a:uLnTx/>
              <a:uFillTx/>
              <a:latin typeface="Arial"/>
              <a:ea typeface="+mn-ea"/>
              <a:cs typeface="Noto Sans"/>
            </a:endParaRPr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1B3FB460-667D-438D-9E47-D8635A6C7FBE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l="7328" t="12162" r="1499" b="12843"/>
          <a:stretch/>
        </p:blipFill>
        <p:spPr>
          <a:xfrm>
            <a:off x="379751" y="6419013"/>
            <a:ext cx="1215582" cy="438987"/>
          </a:xfrm>
          <a:prstGeom prst="rect">
            <a:avLst/>
          </a:prstGeom>
        </p:spPr>
      </p:pic>
      <p:sp>
        <p:nvSpPr>
          <p:cNvPr id="12" name="Parallelogram 11">
            <a:extLst>
              <a:ext uri="{FF2B5EF4-FFF2-40B4-BE49-F238E27FC236}">
                <a16:creationId xmlns:a16="http://schemas.microsoft.com/office/drawing/2014/main" id="{FDB70838-CFC6-61FE-8F45-63736BD12BBF}"/>
              </a:ext>
            </a:extLst>
          </p:cNvPr>
          <p:cNvSpPr/>
          <p:nvPr/>
        </p:nvSpPr>
        <p:spPr bwMode="auto">
          <a:xfrm>
            <a:off x="7215851" y="0"/>
            <a:ext cx="5284789" cy="6858000"/>
          </a:xfrm>
          <a:prstGeom prst="parallelogram">
            <a:avLst/>
          </a:prstGeom>
          <a:solidFill>
            <a:schemeClr val="bg1"/>
          </a:solidFill>
          <a:ln>
            <a:noFill/>
            <a:headEnd/>
            <a:tailEnd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0000" tIns="180000" rIns="180000" bIns="180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85750" indent="-285750" algn="l" eaLnBrk="0" fontAlgn="auto" hangingPunct="0"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SzPct val="110000"/>
              <a:buFont typeface="Arial" panose="020B0604020202020204" pitchFamily="34" charset="0"/>
              <a:buChar char="•"/>
            </a:pPr>
            <a:endParaRPr lang="en-US" sz="1600" kern="0" err="1">
              <a:solidFill>
                <a:schemeClr val="tx1"/>
              </a:solidFill>
            </a:endParaRPr>
          </a:p>
        </p:txBody>
      </p:sp>
      <p:sp>
        <p:nvSpPr>
          <p:cNvPr id="13" name="Parallelogram 12">
            <a:extLst>
              <a:ext uri="{FF2B5EF4-FFF2-40B4-BE49-F238E27FC236}">
                <a16:creationId xmlns:a16="http://schemas.microsoft.com/office/drawing/2014/main" id="{9C069D3E-98B1-CFB4-83C9-B742D26A5529}"/>
              </a:ext>
            </a:extLst>
          </p:cNvPr>
          <p:cNvSpPr/>
          <p:nvPr/>
        </p:nvSpPr>
        <p:spPr bwMode="auto">
          <a:xfrm rot="450519">
            <a:off x="7650086" y="215813"/>
            <a:ext cx="5940646" cy="7035801"/>
          </a:xfrm>
          <a:prstGeom prst="parallelogram">
            <a:avLst/>
          </a:prstGeom>
          <a:gradFill flip="none" rotWithShape="1">
            <a:gsLst>
              <a:gs pos="0">
                <a:schemeClr val="tx2">
                  <a:shade val="30000"/>
                  <a:satMod val="115000"/>
                </a:schemeClr>
              </a:gs>
              <a:gs pos="50000">
                <a:schemeClr val="tx2">
                  <a:shade val="67500"/>
                  <a:satMod val="115000"/>
                </a:schemeClr>
              </a:gs>
              <a:gs pos="100000">
                <a:schemeClr val="tx2">
                  <a:shade val="100000"/>
                  <a:satMod val="115000"/>
                </a:schemeClr>
              </a:gs>
            </a:gsLst>
            <a:lin ang="10800000" scaled="1"/>
            <a:tileRect/>
          </a:gradFill>
          <a:ln>
            <a:noFill/>
            <a:headEnd/>
            <a:tailEnd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0000" tIns="180000" rIns="180000" bIns="180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85750" indent="-285750" algn="l" eaLnBrk="0" fontAlgn="auto" hangingPunct="0"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SzPct val="110000"/>
              <a:buFont typeface="Arial" panose="020B0604020202020204" pitchFamily="34" charset="0"/>
              <a:buChar char="•"/>
            </a:pPr>
            <a:endParaRPr lang="en-US" sz="1600" kern="0" err="1">
              <a:solidFill>
                <a:schemeClr val="tx1"/>
              </a:solidFill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F24BCE37-F887-4C7B-98DC-131BE906068A}"/>
              </a:ext>
            </a:extLst>
          </p:cNvPr>
          <p:cNvSpPr/>
          <p:nvPr/>
        </p:nvSpPr>
        <p:spPr>
          <a:xfrm>
            <a:off x="8633191" y="3491265"/>
            <a:ext cx="2861657" cy="1446540"/>
          </a:xfrm>
          <a:prstGeom prst="rect">
            <a:avLst/>
          </a:prstGeom>
          <a:noFill/>
        </p:spPr>
        <p:txBody>
          <a:bodyPr wrap="none" lIns="91428" tIns="45715" rIns="91428" bIns="45715">
            <a:sp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400" b="1" i="0" u="none" strike="noStrike" kern="1200" cap="none" spc="0" normalizeH="0" baseline="0" noProof="0" dirty="0">
                <a:ln w="0"/>
                <a:solidFill>
                  <a:srgbClr val="FFFFFF"/>
                </a:solidFill>
                <a:effectLst>
                  <a:outerShdw blurRad="38100" dist="19050" dir="2700000" algn="tl" rotWithShape="0">
                    <a:srgbClr val="544F40">
                      <a:alpha val="40000"/>
                    </a:srgbClr>
                  </a:outerShdw>
                </a:effectLst>
                <a:uLnTx/>
                <a:uFillTx/>
                <a:latin typeface="GSK Precision" pitchFamily="50" charset="0"/>
                <a:cs typeface="Noto Sans"/>
              </a:rPr>
              <a:t>Thank you</a:t>
            </a:r>
          </a:p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r-PK" sz="4400" b="1" i="0" u="none" strike="noStrike" kern="1200" cap="none" spc="0" normalizeH="0" baseline="0" noProof="0" dirty="0">
                <a:ln w="0"/>
                <a:solidFill>
                  <a:srgbClr val="FFFFFF"/>
                </a:solidFill>
                <a:effectLst>
                  <a:outerShdw blurRad="38100" dist="19050" dir="2700000" algn="tl" rotWithShape="0">
                    <a:srgbClr val="544F40">
                      <a:alpha val="40000"/>
                    </a:srgbClr>
                  </a:outerShdw>
                </a:effectLst>
                <a:uLnTx/>
                <a:uFillTx/>
                <a:latin typeface="GSK Precision" pitchFamily="50" charset="0"/>
              </a:rPr>
              <a:t>شکریہ</a:t>
            </a:r>
            <a:endParaRPr kumimoji="0" lang="en-US" sz="4400" b="1" i="0" u="none" strike="noStrike" kern="1200" cap="none" spc="0" normalizeH="0" baseline="0" noProof="0" dirty="0">
              <a:ln w="0"/>
              <a:solidFill>
                <a:srgbClr val="FFFFFF"/>
              </a:solidFill>
              <a:effectLst>
                <a:outerShdw blurRad="38100" dist="19050" dir="2700000" algn="tl" rotWithShape="0">
                  <a:srgbClr val="544F40">
                    <a:alpha val="40000"/>
                  </a:srgbClr>
                </a:outerShdw>
              </a:effectLst>
              <a:uLnTx/>
              <a:uFillTx/>
              <a:latin typeface="GSK Precision" pitchFamily="50" charset="0"/>
              <a:cs typeface="Noto Sans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0E027525-7F60-5E3B-9981-C051CE3522EF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1" y="-67377"/>
            <a:ext cx="7254241" cy="69253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50017934"/>
      </p:ext>
    </p:extLst>
  </p:cSld>
  <p:clrMapOvr>
    <a:masterClrMapping/>
  </p:clrMapOvr>
  <p:transition spd="slow">
    <p:push dir="u"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D9C896CB-33F5-EEA0-DC6C-FF41EC0D1B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5126" y="218456"/>
            <a:ext cx="11460163" cy="706104"/>
          </a:xfrm>
        </p:spPr>
        <p:txBody>
          <a:bodyPr/>
          <a:lstStyle/>
          <a:p>
            <a:r>
              <a:rPr lang="en-US" dirty="0"/>
              <a:t>Efforts made by the site to engage stakeholders and coordinate and support public-sector agencies shall be identified.</a:t>
            </a:r>
          </a:p>
        </p:txBody>
      </p:sp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1ED7F702-C740-E4D1-5569-B8386FFC5B9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83480455"/>
              </p:ext>
            </p:extLst>
          </p:nvPr>
        </p:nvGraphicFramePr>
        <p:xfrm>
          <a:off x="436880" y="1083226"/>
          <a:ext cx="6035040" cy="5351229"/>
        </p:xfrm>
        <a:graphic>
          <a:graphicData uri="http://schemas.openxmlformats.org/drawingml/2006/table">
            <a:tbl>
              <a:tblPr>
                <a:tableStyleId>{5940675A-B579-460E-94D1-54222C63F5DA}</a:tableStyleId>
              </a:tblPr>
              <a:tblGrid>
                <a:gridCol w="1483116">
                  <a:extLst>
                    <a:ext uri="{9D8B030D-6E8A-4147-A177-3AD203B41FA5}">
                      <a16:colId xmlns:a16="http://schemas.microsoft.com/office/drawing/2014/main" val="4120520702"/>
                    </a:ext>
                  </a:extLst>
                </a:gridCol>
                <a:gridCol w="2200314">
                  <a:extLst>
                    <a:ext uri="{9D8B030D-6E8A-4147-A177-3AD203B41FA5}">
                      <a16:colId xmlns:a16="http://schemas.microsoft.com/office/drawing/2014/main" val="2298586660"/>
                    </a:ext>
                  </a:extLst>
                </a:gridCol>
                <a:gridCol w="1071897">
                  <a:extLst>
                    <a:ext uri="{9D8B030D-6E8A-4147-A177-3AD203B41FA5}">
                      <a16:colId xmlns:a16="http://schemas.microsoft.com/office/drawing/2014/main" val="1108210500"/>
                    </a:ext>
                  </a:extLst>
                </a:gridCol>
                <a:gridCol w="1279713">
                  <a:extLst>
                    <a:ext uri="{9D8B030D-6E8A-4147-A177-3AD203B41FA5}">
                      <a16:colId xmlns:a16="http://schemas.microsoft.com/office/drawing/2014/main" val="4265996871"/>
                    </a:ext>
                  </a:extLst>
                </a:gridCol>
              </a:tblGrid>
              <a:tr h="791074"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1000" u="none" strike="noStrike" dirty="0">
                          <a:solidFill>
                            <a:schemeClr val="bg1"/>
                          </a:solidFill>
                          <a:effectLst/>
                          <a:latin typeface="gsk"/>
                        </a:rPr>
                        <a:t>Stakeholder  name</a:t>
                      </a:r>
                      <a:endParaRPr lang="en-US" sz="1000" b="1" i="0" u="none" strike="noStrike" dirty="0">
                        <a:solidFill>
                          <a:schemeClr val="bg1"/>
                        </a:solidFill>
                        <a:effectLst/>
                        <a:latin typeface="gsk"/>
                      </a:endParaRPr>
                    </a:p>
                  </a:txBody>
                  <a:tcPr marL="3176" marR="3176" marT="3176" marB="0"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1000" u="none" strike="noStrike" dirty="0">
                          <a:solidFill>
                            <a:schemeClr val="bg1"/>
                          </a:solidFill>
                          <a:effectLst/>
                          <a:latin typeface="gsk"/>
                        </a:rPr>
                        <a:t>Stakeholder description (businesses, governmental agency, farmers/landowners, supplier, non-governmental organizations, community-based organizations, etc.)</a:t>
                      </a:r>
                      <a:endParaRPr lang="en-US" sz="1000" b="1" i="0" u="none" strike="noStrike" dirty="0">
                        <a:solidFill>
                          <a:schemeClr val="bg1"/>
                        </a:solidFill>
                        <a:effectLst/>
                        <a:latin typeface="gsk"/>
                      </a:endParaRPr>
                    </a:p>
                  </a:txBody>
                  <a:tcPr marL="3176" marR="3176" marT="3176" marB="0"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1000" u="none" strike="noStrike">
                          <a:solidFill>
                            <a:schemeClr val="bg1"/>
                          </a:solidFill>
                          <a:effectLst/>
                          <a:latin typeface="gsk"/>
                        </a:rPr>
                        <a:t>Stakeholder's Impact</a:t>
                      </a:r>
                      <a:endParaRPr lang="en-US" sz="1000" b="1" i="0" u="none" strike="noStrike">
                        <a:solidFill>
                          <a:schemeClr val="bg1"/>
                        </a:solidFill>
                        <a:effectLst/>
                        <a:latin typeface="gsk"/>
                      </a:endParaRPr>
                    </a:p>
                  </a:txBody>
                  <a:tcPr marL="3176" marR="3176" marT="3176" marB="0"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1000" u="none" strike="noStrike" dirty="0">
                          <a:solidFill>
                            <a:schemeClr val="bg1"/>
                          </a:solidFill>
                          <a:effectLst/>
                          <a:latin typeface="gsk"/>
                        </a:rPr>
                        <a:t>Stakeholder's level of Interest in water-related issues</a:t>
                      </a:r>
                      <a:endParaRPr lang="en-US" sz="1000" b="1" i="0" u="none" strike="noStrike" dirty="0">
                        <a:solidFill>
                          <a:schemeClr val="bg1"/>
                        </a:solidFill>
                        <a:effectLst/>
                        <a:latin typeface="gsk"/>
                      </a:endParaRPr>
                    </a:p>
                  </a:txBody>
                  <a:tcPr marL="3176" marR="3176" marT="3176" marB="0" anchor="ctr"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13371424"/>
                  </a:ext>
                </a:extLst>
              </a:tr>
              <a:tr h="335500">
                <a:tc>
                  <a:txBody>
                    <a:bodyPr/>
                    <a:lstStyle/>
                    <a:p>
                      <a:pPr marL="0" marR="0" algn="l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050" u="none" strike="noStrike" kern="1200" dirty="0">
                          <a:solidFill>
                            <a:schemeClr val="tx1"/>
                          </a:solidFill>
                          <a:effectLst/>
                          <a:latin typeface="gsk"/>
                          <a:ea typeface="+mn-ea"/>
                          <a:cs typeface="+mn-cs"/>
                        </a:rPr>
                        <a:t>Residents of Mansehra colony</a:t>
                      </a: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1050" u="none" strike="noStrike" dirty="0">
                          <a:effectLst/>
                          <a:latin typeface="gsk"/>
                        </a:rPr>
                        <a:t>Residential/Community</a:t>
                      </a:r>
                      <a:endParaRPr lang="en-US" sz="1050" b="0" i="0" u="none" strike="noStrike" dirty="0">
                        <a:solidFill>
                          <a:srgbClr val="000000"/>
                        </a:solidFill>
                        <a:effectLst/>
                        <a:latin typeface="gsk"/>
                      </a:endParaRPr>
                    </a:p>
                  </a:txBody>
                  <a:tcPr marL="3176" marR="3176" marT="3176" marB="0" anchor="ctr"/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1050" u="none" strike="noStrike" dirty="0">
                          <a:effectLst/>
                          <a:latin typeface="gsk"/>
                        </a:rPr>
                        <a:t>Medium</a:t>
                      </a:r>
                      <a:endParaRPr lang="en-US" sz="1050" b="0" i="0" u="none" strike="noStrike" dirty="0">
                        <a:solidFill>
                          <a:srgbClr val="000000"/>
                        </a:solidFill>
                        <a:effectLst/>
                        <a:latin typeface="gsk"/>
                      </a:endParaRPr>
                    </a:p>
                  </a:txBody>
                  <a:tcPr marL="3176" marR="3176" marT="3176" marB="0" anchor="ctr"/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1050" u="none" strike="noStrike" dirty="0">
                          <a:effectLst/>
                          <a:latin typeface="gsk"/>
                        </a:rPr>
                        <a:t>Low</a:t>
                      </a:r>
                      <a:endParaRPr lang="en-US" sz="1050" b="0" i="0" u="none" strike="noStrike" dirty="0">
                        <a:solidFill>
                          <a:srgbClr val="000000"/>
                        </a:solidFill>
                        <a:effectLst/>
                        <a:latin typeface="gsk"/>
                      </a:endParaRPr>
                    </a:p>
                  </a:txBody>
                  <a:tcPr marL="3176" marR="3176" marT="3176" marB="0" anchor="ctr"/>
                </a:tc>
                <a:extLst>
                  <a:ext uri="{0D108BD9-81ED-4DB2-BD59-A6C34878D82A}">
                    <a16:rowId xmlns:a16="http://schemas.microsoft.com/office/drawing/2014/main" val="1501734691"/>
                  </a:ext>
                </a:extLst>
              </a:tr>
              <a:tr h="459688"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1050" u="none" strike="noStrike" dirty="0">
                          <a:effectLst/>
                          <a:latin typeface="gsk"/>
                        </a:rPr>
                        <a:t>Karachi Water Supply and Sewerage Corporation (KWSC)</a:t>
                      </a:r>
                      <a:endParaRPr lang="en-US" sz="1050" b="0" i="0" u="none" strike="noStrike" dirty="0">
                        <a:solidFill>
                          <a:srgbClr val="000000"/>
                        </a:solidFill>
                        <a:effectLst/>
                        <a:latin typeface="gsk"/>
                      </a:endParaRPr>
                    </a:p>
                  </a:txBody>
                  <a:tcPr marL="3176" marR="3176" marT="3176" marB="0" anchor="ctr"/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1050" u="none" strike="noStrike" dirty="0">
                          <a:effectLst/>
                          <a:latin typeface="gsk"/>
                        </a:rPr>
                        <a:t>Government agency</a:t>
                      </a:r>
                      <a:endParaRPr lang="en-US" sz="1050" b="0" i="0" u="none" strike="noStrike" dirty="0">
                        <a:solidFill>
                          <a:srgbClr val="000000"/>
                        </a:solidFill>
                        <a:effectLst/>
                        <a:latin typeface="gsk"/>
                      </a:endParaRPr>
                    </a:p>
                  </a:txBody>
                  <a:tcPr marL="3176" marR="3176" marT="3176" marB="0" anchor="ctr"/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1050" u="none" strike="noStrike">
                          <a:effectLst/>
                          <a:latin typeface="gsk"/>
                        </a:rPr>
                        <a:t>High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gsk"/>
                      </a:endParaRPr>
                    </a:p>
                  </a:txBody>
                  <a:tcPr marL="3176" marR="3176" marT="3176" marB="0" anchor="ctr"/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1050" u="none" strike="noStrike" dirty="0">
                          <a:effectLst/>
                          <a:latin typeface="gsk"/>
                        </a:rPr>
                        <a:t>High</a:t>
                      </a:r>
                      <a:endParaRPr lang="en-US" sz="1050" b="0" i="0" u="none" strike="noStrike" dirty="0">
                        <a:solidFill>
                          <a:srgbClr val="000000"/>
                        </a:solidFill>
                        <a:effectLst/>
                        <a:latin typeface="gsk"/>
                      </a:endParaRPr>
                    </a:p>
                  </a:txBody>
                  <a:tcPr marL="3176" marR="3176" marT="3176" marB="0" anchor="ctr"/>
                </a:tc>
                <a:extLst>
                  <a:ext uri="{0D108BD9-81ED-4DB2-BD59-A6C34878D82A}">
                    <a16:rowId xmlns:a16="http://schemas.microsoft.com/office/drawing/2014/main" val="3063127738"/>
                  </a:ext>
                </a:extLst>
              </a:tr>
              <a:tr h="410603"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gsk"/>
                        </a:rPr>
                        <a:t>Sindh Irrigation Department</a:t>
                      </a:r>
                    </a:p>
                  </a:txBody>
                  <a:tcPr marL="3176" marR="3176" marT="3176" marB="0" anchor="ctr"/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1050" u="none" strike="noStrike" dirty="0">
                          <a:effectLst/>
                          <a:latin typeface="gsk"/>
                        </a:rPr>
                        <a:t>Government agency</a:t>
                      </a:r>
                      <a:endParaRPr lang="en-US" sz="1050" b="0" i="0" u="none" strike="noStrike" dirty="0">
                        <a:solidFill>
                          <a:srgbClr val="000000"/>
                        </a:solidFill>
                        <a:effectLst/>
                        <a:latin typeface="gsk"/>
                      </a:endParaRPr>
                    </a:p>
                  </a:txBody>
                  <a:tcPr marL="3176" marR="3176" marT="3176" marB="0" anchor="ctr"/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1050" u="none" strike="noStrike">
                          <a:effectLst/>
                          <a:latin typeface="gsk"/>
                        </a:rPr>
                        <a:t>High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gsk"/>
                      </a:endParaRPr>
                    </a:p>
                  </a:txBody>
                  <a:tcPr marL="3176" marR="3176" marT="3176" marB="0" anchor="ctr"/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1050" u="none" strike="noStrike" dirty="0">
                          <a:effectLst/>
                          <a:latin typeface="gsk"/>
                        </a:rPr>
                        <a:t>High</a:t>
                      </a:r>
                      <a:endParaRPr lang="en-US" sz="1050" b="0" i="0" u="none" strike="noStrike" dirty="0">
                        <a:solidFill>
                          <a:srgbClr val="000000"/>
                        </a:solidFill>
                        <a:effectLst/>
                        <a:latin typeface="gsk"/>
                      </a:endParaRPr>
                    </a:p>
                  </a:txBody>
                  <a:tcPr marL="3176" marR="3176" marT="3176" marB="0" anchor="ctr"/>
                </a:tc>
                <a:extLst>
                  <a:ext uri="{0D108BD9-81ED-4DB2-BD59-A6C34878D82A}">
                    <a16:rowId xmlns:a16="http://schemas.microsoft.com/office/drawing/2014/main" val="25745063"/>
                  </a:ext>
                </a:extLst>
              </a:tr>
              <a:tr h="412814"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1050" u="none" strike="noStrike" dirty="0">
                          <a:effectLst/>
                          <a:latin typeface="gsk"/>
                        </a:rPr>
                        <a:t>Swano Dry Cleaner</a:t>
                      </a:r>
                      <a:endParaRPr lang="en-US" sz="1050" b="0" i="0" u="none" strike="noStrike" dirty="0">
                        <a:solidFill>
                          <a:srgbClr val="000000"/>
                        </a:solidFill>
                        <a:effectLst/>
                        <a:latin typeface="gsk"/>
                      </a:endParaRPr>
                    </a:p>
                  </a:txBody>
                  <a:tcPr marL="3176" marR="3176" marT="3176" marB="0" anchor="ctr"/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1050" u="none" strike="noStrike" dirty="0">
                          <a:effectLst/>
                          <a:latin typeface="gsk"/>
                        </a:rPr>
                        <a:t>Industry</a:t>
                      </a:r>
                      <a:endParaRPr lang="en-US" sz="1050" b="0" i="0" u="none" strike="noStrike" dirty="0">
                        <a:solidFill>
                          <a:srgbClr val="000000"/>
                        </a:solidFill>
                        <a:effectLst/>
                        <a:latin typeface="gsk"/>
                      </a:endParaRPr>
                    </a:p>
                  </a:txBody>
                  <a:tcPr marL="3176" marR="3176" marT="3176" marB="0" anchor="ctr"/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gsk"/>
                        </a:rPr>
                        <a:t>Low</a:t>
                      </a:r>
                    </a:p>
                  </a:txBody>
                  <a:tcPr marL="3176" marR="3176" marT="3176" marB="0" anchor="ctr"/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gsk"/>
                        </a:rPr>
                        <a:t>Medium</a:t>
                      </a:r>
                    </a:p>
                  </a:txBody>
                  <a:tcPr marL="3176" marR="3176" marT="3176" marB="0" anchor="ctr"/>
                </a:tc>
                <a:extLst>
                  <a:ext uri="{0D108BD9-81ED-4DB2-BD59-A6C34878D82A}">
                    <a16:rowId xmlns:a16="http://schemas.microsoft.com/office/drawing/2014/main" val="2114879743"/>
                  </a:ext>
                </a:extLst>
              </a:tr>
              <a:tr h="295360"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gsk"/>
                        </a:rPr>
                        <a:t>Ghulam Nabi</a:t>
                      </a:r>
                    </a:p>
                  </a:txBody>
                  <a:tcPr marL="3176" marR="3176" marT="3176" marB="0" anchor="ctr"/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gsk"/>
                        </a:rPr>
                        <a:t>Water Contractor</a:t>
                      </a:r>
                    </a:p>
                  </a:txBody>
                  <a:tcPr marL="3176" marR="3176" marT="3176" marB="0" anchor="ctr"/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gsk"/>
                        </a:rPr>
                        <a:t>High</a:t>
                      </a:r>
                    </a:p>
                  </a:txBody>
                  <a:tcPr marL="3176" marR="3176" marT="3176" marB="0" anchor="ctr"/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gsk"/>
                        </a:rPr>
                        <a:t>High</a:t>
                      </a:r>
                    </a:p>
                  </a:txBody>
                  <a:tcPr marL="3176" marR="3176" marT="3176" marB="0" anchor="ctr"/>
                </a:tc>
                <a:extLst>
                  <a:ext uri="{0D108BD9-81ED-4DB2-BD59-A6C34878D82A}">
                    <a16:rowId xmlns:a16="http://schemas.microsoft.com/office/drawing/2014/main" val="3128742323"/>
                  </a:ext>
                </a:extLst>
              </a:tr>
              <a:tr h="431447"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gsk"/>
                        </a:rPr>
                        <a:t>Korangi Association of Trade and Industries (KATI)</a:t>
                      </a:r>
                    </a:p>
                  </a:txBody>
                  <a:tcPr marL="3176" marR="3176" marT="3176" marB="0" anchor="ctr"/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gsk"/>
                        </a:rPr>
                        <a:t>Trade Association</a:t>
                      </a:r>
                    </a:p>
                  </a:txBody>
                  <a:tcPr marL="3176" marR="3176" marT="3176" marB="0" anchor="ctr"/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gsk"/>
                        </a:rPr>
                        <a:t>Medium</a:t>
                      </a:r>
                    </a:p>
                  </a:txBody>
                  <a:tcPr marL="3176" marR="3176" marT="3176" marB="0" anchor="ctr"/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gsk"/>
                        </a:rPr>
                        <a:t>Medium</a:t>
                      </a:r>
                    </a:p>
                  </a:txBody>
                  <a:tcPr marL="3176" marR="3176" marT="3176" marB="0" anchor="ctr"/>
                </a:tc>
                <a:extLst>
                  <a:ext uri="{0D108BD9-81ED-4DB2-BD59-A6C34878D82A}">
                    <a16:rowId xmlns:a16="http://schemas.microsoft.com/office/drawing/2014/main" val="3667768521"/>
                  </a:ext>
                </a:extLst>
              </a:tr>
              <a:tr h="307466"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gsk"/>
                        </a:rPr>
                        <a:t>Pakitex Boards Pvt Ltd</a:t>
                      </a:r>
                    </a:p>
                  </a:txBody>
                  <a:tcPr marL="3176" marR="3176" marT="3176" marB="0" anchor="ctr"/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gsk"/>
                        </a:rPr>
                        <a:t>Industry</a:t>
                      </a:r>
                    </a:p>
                  </a:txBody>
                  <a:tcPr marL="3176" marR="3176" marT="3176" marB="0" anchor="ctr"/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1050" u="none" strike="noStrike" dirty="0">
                          <a:effectLst/>
                          <a:latin typeface="gsk"/>
                        </a:rPr>
                        <a:t>Medium</a:t>
                      </a:r>
                      <a:endParaRPr lang="en-US" sz="1050" b="0" i="0" u="none" strike="noStrike" dirty="0">
                        <a:solidFill>
                          <a:srgbClr val="000000"/>
                        </a:solidFill>
                        <a:effectLst/>
                        <a:latin typeface="gsk"/>
                      </a:endParaRPr>
                    </a:p>
                  </a:txBody>
                  <a:tcPr marL="3176" marR="3176" marT="3176" marB="0" anchor="ctr"/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1050" u="none" strike="noStrike" dirty="0">
                          <a:effectLst/>
                          <a:latin typeface="gsk"/>
                        </a:rPr>
                        <a:t>High</a:t>
                      </a:r>
                      <a:endParaRPr lang="en-US" sz="1050" b="0" i="0" u="none" strike="noStrike" dirty="0">
                        <a:solidFill>
                          <a:srgbClr val="000000"/>
                        </a:solidFill>
                        <a:effectLst/>
                        <a:latin typeface="gsk"/>
                      </a:endParaRPr>
                    </a:p>
                  </a:txBody>
                  <a:tcPr marL="3176" marR="3176" marT="3176" marB="0" anchor="ctr"/>
                </a:tc>
                <a:extLst>
                  <a:ext uri="{0D108BD9-81ED-4DB2-BD59-A6C34878D82A}">
                    <a16:rowId xmlns:a16="http://schemas.microsoft.com/office/drawing/2014/main" val="3039433317"/>
                  </a:ext>
                </a:extLst>
              </a:tr>
              <a:tr h="250451"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1050" u="none" strike="noStrike" dirty="0">
                          <a:effectLst/>
                          <a:latin typeface="gsk"/>
                        </a:rPr>
                        <a:t>Nestle Port Qasim Factory</a:t>
                      </a:r>
                      <a:endParaRPr lang="en-US" sz="1050" b="0" i="0" u="none" strike="noStrike" dirty="0">
                        <a:solidFill>
                          <a:srgbClr val="000000"/>
                        </a:solidFill>
                        <a:effectLst/>
                        <a:latin typeface="gsk"/>
                      </a:endParaRPr>
                    </a:p>
                  </a:txBody>
                  <a:tcPr marL="3176" marR="3176" marT="3176" marB="0" anchor="ctr"/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1050" u="none" strike="noStrike" dirty="0">
                          <a:effectLst/>
                          <a:latin typeface="gsk"/>
                        </a:rPr>
                        <a:t>Industry</a:t>
                      </a:r>
                      <a:endParaRPr lang="en-US" sz="1050" b="0" i="0" u="none" strike="noStrike" dirty="0">
                        <a:solidFill>
                          <a:srgbClr val="000000"/>
                        </a:solidFill>
                        <a:effectLst/>
                        <a:latin typeface="gsk"/>
                      </a:endParaRPr>
                    </a:p>
                  </a:txBody>
                  <a:tcPr marL="3176" marR="3176" marT="3176" marB="0" anchor="ctr"/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1050" u="none" strike="noStrike" dirty="0">
                          <a:effectLst/>
                          <a:latin typeface="gsk"/>
                        </a:rPr>
                        <a:t>Medium</a:t>
                      </a:r>
                      <a:endParaRPr lang="en-US" sz="1050" b="0" i="0" u="none" strike="noStrike" dirty="0">
                        <a:solidFill>
                          <a:srgbClr val="000000"/>
                        </a:solidFill>
                        <a:effectLst/>
                        <a:latin typeface="gsk"/>
                      </a:endParaRPr>
                    </a:p>
                  </a:txBody>
                  <a:tcPr marL="3176" marR="3176" marT="3176" marB="0" anchor="ctr"/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1050" u="none" strike="noStrike" dirty="0">
                          <a:effectLst/>
                          <a:latin typeface="gsk"/>
                        </a:rPr>
                        <a:t>High</a:t>
                      </a:r>
                      <a:endParaRPr lang="en-US" sz="1050" b="0" i="0" u="none" strike="noStrike" dirty="0">
                        <a:solidFill>
                          <a:srgbClr val="000000"/>
                        </a:solidFill>
                        <a:effectLst/>
                        <a:latin typeface="gsk"/>
                      </a:endParaRPr>
                    </a:p>
                  </a:txBody>
                  <a:tcPr marL="3176" marR="3176" marT="3176" marB="0" anchor="ctr"/>
                </a:tc>
                <a:extLst>
                  <a:ext uri="{0D108BD9-81ED-4DB2-BD59-A6C34878D82A}">
                    <a16:rowId xmlns:a16="http://schemas.microsoft.com/office/drawing/2014/main" val="3198123030"/>
                  </a:ext>
                </a:extLst>
              </a:tr>
              <a:tr h="316087"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1050" u="none" strike="noStrike" dirty="0">
                          <a:effectLst/>
                          <a:latin typeface="gsk"/>
                        </a:rPr>
                        <a:t>WWF Pakistan</a:t>
                      </a:r>
                      <a:endParaRPr lang="en-US" sz="1050" b="0" i="0" u="none" strike="noStrike" dirty="0">
                        <a:solidFill>
                          <a:srgbClr val="000000"/>
                        </a:solidFill>
                        <a:effectLst/>
                        <a:latin typeface="gsk"/>
                      </a:endParaRPr>
                    </a:p>
                  </a:txBody>
                  <a:tcPr marL="3176" marR="3176" marT="3176" marB="0" anchor="ctr"/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1050" u="none" strike="noStrike" dirty="0">
                          <a:effectLst/>
                          <a:latin typeface="gsk"/>
                        </a:rPr>
                        <a:t>Non-governmental organization (NGO)</a:t>
                      </a:r>
                      <a:endParaRPr lang="en-US" sz="1050" b="0" i="0" u="none" strike="noStrike" dirty="0">
                        <a:solidFill>
                          <a:srgbClr val="000000"/>
                        </a:solidFill>
                        <a:effectLst/>
                        <a:latin typeface="gsk"/>
                      </a:endParaRPr>
                    </a:p>
                  </a:txBody>
                  <a:tcPr marL="3176" marR="3176" marT="3176" marB="0" anchor="ctr"/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1050" u="none" strike="noStrike" dirty="0">
                          <a:effectLst/>
                          <a:latin typeface="gsk"/>
                        </a:rPr>
                        <a:t>Low</a:t>
                      </a:r>
                      <a:endParaRPr lang="en-US" sz="1050" b="0" i="0" u="none" strike="noStrike" dirty="0">
                        <a:solidFill>
                          <a:srgbClr val="000000"/>
                        </a:solidFill>
                        <a:effectLst/>
                        <a:latin typeface="gsk"/>
                      </a:endParaRPr>
                    </a:p>
                  </a:txBody>
                  <a:tcPr marL="3176" marR="3176" marT="3176" marB="0" anchor="ctr"/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1050" u="none" strike="noStrike" dirty="0">
                          <a:effectLst/>
                          <a:latin typeface="gsk"/>
                        </a:rPr>
                        <a:t>High</a:t>
                      </a:r>
                      <a:endParaRPr lang="en-US" sz="1050" b="0" i="0" u="none" strike="noStrike" dirty="0">
                        <a:solidFill>
                          <a:srgbClr val="000000"/>
                        </a:solidFill>
                        <a:effectLst/>
                        <a:latin typeface="gsk"/>
                      </a:endParaRPr>
                    </a:p>
                  </a:txBody>
                  <a:tcPr marL="3176" marR="3176" marT="3176" marB="0" anchor="ctr"/>
                </a:tc>
                <a:extLst>
                  <a:ext uri="{0D108BD9-81ED-4DB2-BD59-A6C34878D82A}">
                    <a16:rowId xmlns:a16="http://schemas.microsoft.com/office/drawing/2014/main" val="2730930605"/>
                  </a:ext>
                </a:extLst>
              </a:tr>
              <a:tr h="323860"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1050" u="none" strike="noStrike" dirty="0">
                          <a:effectLst/>
                          <a:latin typeface="gsk"/>
                        </a:rPr>
                        <a:t>Site Employees</a:t>
                      </a:r>
                      <a:endParaRPr lang="en-US" sz="1050" b="0" i="0" u="none" strike="noStrike" dirty="0">
                        <a:solidFill>
                          <a:srgbClr val="000000"/>
                        </a:solidFill>
                        <a:effectLst/>
                        <a:latin typeface="gsk"/>
                      </a:endParaRPr>
                    </a:p>
                  </a:txBody>
                  <a:tcPr marL="3176" marR="3176" marT="3176" marB="0" anchor="ctr"/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1050" u="none" strike="noStrike">
                          <a:effectLst/>
                          <a:latin typeface="gsk"/>
                        </a:rPr>
                        <a:t>GSK personnel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gsk"/>
                      </a:endParaRPr>
                    </a:p>
                  </a:txBody>
                  <a:tcPr marL="3176" marR="3176" marT="3176" marB="0" anchor="ctr"/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1050" u="none" strike="noStrike">
                          <a:effectLst/>
                          <a:latin typeface="gsk"/>
                        </a:rPr>
                        <a:t>High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gsk"/>
                      </a:endParaRPr>
                    </a:p>
                  </a:txBody>
                  <a:tcPr marL="3176" marR="3176" marT="3176" marB="0" anchor="ctr"/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1050" u="none" strike="noStrike" dirty="0">
                          <a:effectLst/>
                          <a:latin typeface="gsk"/>
                        </a:rPr>
                        <a:t>High</a:t>
                      </a:r>
                      <a:endParaRPr lang="en-US" sz="1050" b="0" i="0" u="none" strike="noStrike" dirty="0">
                        <a:solidFill>
                          <a:srgbClr val="000000"/>
                        </a:solidFill>
                        <a:effectLst/>
                        <a:latin typeface="gsk"/>
                      </a:endParaRPr>
                    </a:p>
                  </a:txBody>
                  <a:tcPr marL="3176" marR="3176" marT="3176" marB="0" anchor="ctr"/>
                </a:tc>
                <a:extLst>
                  <a:ext uri="{0D108BD9-81ED-4DB2-BD59-A6C34878D82A}">
                    <a16:rowId xmlns:a16="http://schemas.microsoft.com/office/drawing/2014/main" val="400042028"/>
                  </a:ext>
                </a:extLst>
              </a:tr>
              <a:tr h="323860"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gsk"/>
                        </a:rPr>
                        <a:t>Artistic Garment Industries</a:t>
                      </a:r>
                    </a:p>
                  </a:txBody>
                  <a:tcPr marL="3176" marR="3176" marT="3176" marB="0" anchor="ctr"/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1050" u="none" strike="noStrike" dirty="0">
                          <a:effectLst/>
                          <a:latin typeface="gsk"/>
                        </a:rPr>
                        <a:t>Industry</a:t>
                      </a:r>
                      <a:endParaRPr lang="en-US" sz="1050" b="0" i="0" u="none" strike="noStrike" dirty="0">
                        <a:solidFill>
                          <a:srgbClr val="000000"/>
                        </a:solidFill>
                        <a:effectLst/>
                        <a:latin typeface="gsk"/>
                      </a:endParaRPr>
                    </a:p>
                  </a:txBody>
                  <a:tcPr marL="3176" marR="3176" marT="3176" marB="0" anchor="ctr"/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1050" u="none" strike="noStrike" dirty="0">
                          <a:effectLst/>
                          <a:latin typeface="gsk"/>
                        </a:rPr>
                        <a:t>Medium</a:t>
                      </a:r>
                      <a:endParaRPr lang="en-US" sz="1050" b="0" i="0" u="none" strike="noStrike" dirty="0">
                        <a:solidFill>
                          <a:srgbClr val="000000"/>
                        </a:solidFill>
                        <a:effectLst/>
                        <a:latin typeface="gsk"/>
                      </a:endParaRPr>
                    </a:p>
                  </a:txBody>
                  <a:tcPr marL="3176" marR="3176" marT="3176" marB="0" anchor="ctr"/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1050" u="none" strike="noStrike" dirty="0">
                          <a:effectLst/>
                          <a:latin typeface="gsk"/>
                        </a:rPr>
                        <a:t>High</a:t>
                      </a:r>
                      <a:endParaRPr lang="en-US" sz="1050" b="0" i="0" u="none" strike="noStrike" dirty="0">
                        <a:solidFill>
                          <a:srgbClr val="000000"/>
                        </a:solidFill>
                        <a:effectLst/>
                        <a:latin typeface="gsk"/>
                      </a:endParaRPr>
                    </a:p>
                  </a:txBody>
                  <a:tcPr marL="3176" marR="3176" marT="3176" marB="0" anchor="ctr"/>
                </a:tc>
                <a:extLst>
                  <a:ext uri="{0D108BD9-81ED-4DB2-BD59-A6C34878D82A}">
                    <a16:rowId xmlns:a16="http://schemas.microsoft.com/office/drawing/2014/main" val="3415686148"/>
                  </a:ext>
                </a:extLst>
              </a:tr>
              <a:tr h="323860"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gsk"/>
                        </a:rPr>
                        <a:t>Martin Dow International</a:t>
                      </a:r>
                    </a:p>
                  </a:txBody>
                  <a:tcPr marL="3176" marR="3176" marT="3176" marB="0" anchor="ctr"/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gsk"/>
                        </a:rPr>
                        <a:t>Industry</a:t>
                      </a:r>
                    </a:p>
                  </a:txBody>
                  <a:tcPr marL="3176" marR="3176" marT="3176" marB="0" anchor="ctr"/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gsk"/>
                        </a:rPr>
                        <a:t>Medium</a:t>
                      </a:r>
                    </a:p>
                  </a:txBody>
                  <a:tcPr marL="3176" marR="3176" marT="3176" marB="0" anchor="ctr"/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gsk"/>
                        </a:rPr>
                        <a:t>High</a:t>
                      </a:r>
                    </a:p>
                  </a:txBody>
                  <a:tcPr marL="3176" marR="3176" marT="3176" marB="0" anchor="ctr"/>
                </a:tc>
                <a:extLst>
                  <a:ext uri="{0D108BD9-81ED-4DB2-BD59-A6C34878D82A}">
                    <a16:rowId xmlns:a16="http://schemas.microsoft.com/office/drawing/2014/main" val="2520302161"/>
                  </a:ext>
                </a:extLst>
              </a:tr>
              <a:tr h="323860"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gsk"/>
                        </a:rPr>
                        <a:t>Ghulam Nabi</a:t>
                      </a:r>
                    </a:p>
                  </a:txBody>
                  <a:tcPr marL="3176" marR="3176" marT="3176" marB="0" anchor="ctr"/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gsk"/>
                        </a:rPr>
                        <a:t>Water Contractor</a:t>
                      </a:r>
                    </a:p>
                  </a:txBody>
                  <a:tcPr marL="3176" marR="3176" marT="3176" marB="0" anchor="ctr"/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gsk"/>
                        </a:rPr>
                        <a:t>High</a:t>
                      </a:r>
                    </a:p>
                  </a:txBody>
                  <a:tcPr marL="3176" marR="3176" marT="3176" marB="0" anchor="ctr"/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gsk"/>
                        </a:rPr>
                        <a:t>High</a:t>
                      </a:r>
                    </a:p>
                  </a:txBody>
                  <a:tcPr marL="3176" marR="3176" marT="3176" marB="0" anchor="ctr"/>
                </a:tc>
                <a:extLst>
                  <a:ext uri="{0D108BD9-81ED-4DB2-BD59-A6C34878D82A}">
                    <a16:rowId xmlns:a16="http://schemas.microsoft.com/office/drawing/2014/main" val="3950473070"/>
                  </a:ext>
                </a:extLst>
              </a:tr>
            </a:tbl>
          </a:graphicData>
        </a:graphic>
      </p:graphicFrame>
      <p:pic>
        <p:nvPicPr>
          <p:cNvPr id="8" name="Picture 7">
            <a:extLst>
              <a:ext uri="{FF2B5EF4-FFF2-40B4-BE49-F238E27FC236}">
                <a16:creationId xmlns:a16="http://schemas.microsoft.com/office/drawing/2014/main" id="{5F3B5A90-ED46-4991-97C3-44DE88B7C7B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621780" y="1722120"/>
            <a:ext cx="5379720" cy="35864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7562767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F95912E9-25F8-E39F-459D-8E6118BCEA6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NGAGEMENT (NESTLE PQF) 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AC605431-D6A4-AEEE-B833-E0F6B31B009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56565" y="1987855"/>
            <a:ext cx="4025845" cy="3017282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D333F4F9-F24B-F557-45D9-9C31505844C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262971" y="649343"/>
            <a:ext cx="5474104" cy="59410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181937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5929020-A779-6FB9-B5EC-E292AA8620F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7D5EC92D-2E8E-3E5C-B561-E57E5A4D84A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NGAGEMENT (KATI) 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95463A03-4C0E-0A10-48D3-F1B860CCC61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65125" y="1775590"/>
            <a:ext cx="4466538" cy="2957276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E8E2B862-6CBE-A5BC-14AF-932A0AFEF54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147733" y="177726"/>
            <a:ext cx="5283199" cy="65025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0995167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1F5931B-D7C3-C120-EB42-29421F12508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95528A0F-68FA-D8BE-DEE1-3E86BBC62EB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NGAGEMENT (SWANO DRY CLEANERS) 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AF5D7357-5DB9-4F27-2077-99417B7F925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65125" y="1996659"/>
            <a:ext cx="4466538" cy="2515138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265A983A-92C5-EF5E-43F6-D51277CBBE6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398966" y="686784"/>
            <a:ext cx="4803367" cy="59267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7454466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30722D3-8568-BC4C-9425-541413F32A4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B71E9C4E-3351-2E63-18D5-90FB5FEAE7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NGAGEMENT (ARTISTIC GARMENT INDUSTRIES) 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E81CE2A8-51BE-B022-9B3C-DBCE5E94B12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47894" y="1523438"/>
            <a:ext cx="4918108" cy="3607361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82AAA7C6-91E1-0AF7-CE32-37FD7CC6F0B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605085" y="649343"/>
            <a:ext cx="5059707" cy="61067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481067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4C35C46-E14E-813E-A424-A07DB5FB50B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108121FF-39DC-176B-9235-3B41CA4C00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NGAGEMENT (PAKITEX BOARDS) 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7E369326-E550-8A6C-AC8D-7D8E27EABAB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65125" y="1840686"/>
            <a:ext cx="3763217" cy="2361418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ADDF72D2-5694-D947-3129-C2AE6BBB81F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7482"/>
          <a:stretch>
            <a:fillRect/>
          </a:stretch>
        </p:blipFill>
        <p:spPr>
          <a:xfrm>
            <a:off x="4278936" y="712804"/>
            <a:ext cx="4083562" cy="5630846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49EF417F-B2DC-F794-F8CD-EA3D4FD3902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042153" y="1093112"/>
            <a:ext cx="4083562" cy="37836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3144504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0DDB58D-5C0D-630E-D505-D0918F7D6B4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A99EBBBE-C1CA-BF2A-E6B9-DE3D81ED27A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ENGAGEMENT (MANSEHRA COLONY) </a:t>
            </a:r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65C7BE6C-D464-33D3-BCC5-A009B55849B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67256" y="1374543"/>
            <a:ext cx="3763217" cy="2345901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1A0CDFD3-6EA2-DBC4-94DC-64A5BC4B9CF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165788" y="873369"/>
            <a:ext cx="5795744" cy="5709669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C452B735-F859-DC20-1CCA-451D8E3BBF63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15947" y="3992877"/>
            <a:ext cx="3465835" cy="23614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5457455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82870F78-762E-B462-51A4-2CE5959DA12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22807" y="-1075779"/>
            <a:ext cx="5724549" cy="187862"/>
          </a:xfrm>
        </p:spPr>
        <p:txBody>
          <a:bodyPr/>
          <a:lstStyle/>
          <a:p>
            <a:r>
              <a:rPr lang="en-US" dirty="0"/>
              <a:t>ENGAGEMENTS (SITE ASSOCIATION) </a:t>
            </a:r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8B1816BF-42CA-CF31-6A32-2D3D1B5396B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5124" y="772498"/>
            <a:ext cx="11186796" cy="54555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C3DB2AD0-F0C6-1AAF-78D9-372EDA1449F0}"/>
              </a:ext>
            </a:extLst>
          </p:cNvPr>
          <p:cNvSpPr txBox="1"/>
          <p:nvPr/>
        </p:nvSpPr>
        <p:spPr>
          <a:xfrm>
            <a:off x="365124" y="104368"/>
            <a:ext cx="8209915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F36633"/>
                </a:solidFill>
                <a:effectLst/>
                <a:uLnTx/>
                <a:uFillTx/>
                <a:latin typeface="Arial"/>
                <a:ea typeface="+mj-ea"/>
                <a:cs typeface="Arial"/>
              </a:rPr>
              <a:t>ENGAGEMENT (KWSC)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202515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DESIGN_ID_GSK " val="DqY5De45"/>
  <p:tag name="THINKCELLUNDODONOTDELETE" val="0"/>
  <p:tag name="ARTICULATE_SLIDE_COUNT" val="72"/>
  <p:tag name="ARTICULATE_PROJECT_OPEN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heme/theme1.xml><?xml version="1.0" encoding="utf-8"?>
<a:theme xmlns:a="http://schemas.openxmlformats.org/drawingml/2006/main" name="GSK ">
  <a:themeElements>
    <a:clrScheme name="GSK_Template_2022">
      <a:dk1>
        <a:srgbClr val="000000"/>
      </a:dk1>
      <a:lt1>
        <a:srgbClr val="FFFFFF"/>
      </a:lt1>
      <a:dk2>
        <a:srgbClr val="F36633"/>
      </a:dk2>
      <a:lt2>
        <a:srgbClr val="959595"/>
      </a:lt2>
      <a:accent1>
        <a:srgbClr val="6658A6"/>
      </a:accent1>
      <a:accent2>
        <a:srgbClr val="E21860"/>
      </a:accent2>
      <a:accent3>
        <a:srgbClr val="69B445"/>
      </a:accent3>
      <a:accent4>
        <a:srgbClr val="244EA2"/>
      </a:accent4>
      <a:accent5>
        <a:srgbClr val="FFC709"/>
      </a:accent5>
      <a:accent6>
        <a:srgbClr val="DC4133"/>
      </a:accent6>
      <a:hlink>
        <a:srgbClr val="000000"/>
      </a:hlink>
      <a:folHlink>
        <a:srgbClr val="959595"/>
      </a:folHlink>
    </a:clrScheme>
    <a:fontScheme name="Arial">
      <a:majorFont>
        <a:latin typeface="Arial"/>
        <a:ea typeface=""/>
        <a:cs typeface="Arial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rial"/>
        <a:ea typeface=""/>
        <a:cs typeface="Arial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1">
            <a:lumMod val="95000"/>
          </a:schemeClr>
        </a:solidFill>
        <a:ln>
          <a:noFill/>
          <a:headEnd/>
          <a:tailEnd/>
        </a:ln>
        <a:effectLst/>
      </a:spPr>
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<a:prstTxWarp prst="textNoShape">
          <a:avLst/>
        </a:prstTxWarp>
        <a:noAutofit/>
      </a:bodyPr>
      <a:lstStyle>
        <a:defPPr algn="l" eaLnBrk="0" fontAlgn="auto" hangingPunct="0">
          <a:spcBef>
            <a:spcPts val="300"/>
          </a:spcBef>
          <a:spcAft>
            <a:spcPts val="300"/>
          </a:spcAft>
          <a:buClr>
            <a:schemeClr val="tx2"/>
          </a:buClr>
          <a:buSzPct val="110000"/>
          <a:defRPr sz="1600" kern="0" dirty="0" err="1" smtClean="0">
            <a:solidFill>
              <a:schemeClr val="tx1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9050" cap="rnd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36000" tIns="36000" rIns="36000" bIns="36000" rtlCol="0">
        <a:noAutofit/>
      </a:bodyPr>
      <a:lstStyle>
        <a:defPPr algn="l">
          <a:spcBef>
            <a:spcPts val="300"/>
          </a:spcBef>
          <a:spcAft>
            <a:spcPts val="300"/>
          </a:spcAft>
          <a:buClr>
            <a:schemeClr val="tx2"/>
          </a:buClr>
          <a:buSzPct val="110000"/>
          <a:defRPr sz="1600" dirty="0" err="1" smtClean="0"/>
        </a:defPPr>
      </a:lstStyle>
    </a:txDef>
  </a:objectDefaults>
  <a:extraClrSchemeLst/>
  <a:custClrLst>
    <a:custClr name="Custom Color 1">
      <a:srgbClr val="6658A6"/>
    </a:custClr>
    <a:custClr name="Custom Color 2">
      <a:srgbClr val="E21860"/>
    </a:custClr>
    <a:custClr name="Custom Color 3">
      <a:srgbClr val="69B445"/>
    </a:custClr>
    <a:custClr name="Custom Color 4">
      <a:srgbClr val="244EA2"/>
    </a:custClr>
    <a:custClr name="Custom Color 5">
      <a:srgbClr val="FFC709"/>
    </a:custClr>
    <a:custClr name="Custom Color 6">
      <a:srgbClr val="DC4133"/>
    </a:custClr>
    <a:custClr name="Custom Color 7">
      <a:srgbClr val="00B8AD"/>
    </a:custClr>
    <a:custClr name="BLANK">
      <a:srgbClr val="FFFFFF"/>
    </a:custClr>
    <a:custClr name="BLANK">
      <a:srgbClr val="FFFFFF"/>
    </a:custClr>
    <a:custClr name="BLANK">
      <a:srgbClr val="FFFFFF"/>
    </a:custClr>
    <a:custClr name="Custom Color 11">
      <a:srgbClr val="522E91"/>
    </a:custClr>
    <a:custClr name="Custom Color 12">
      <a:srgbClr val="862045"/>
    </a:custClr>
    <a:custClr name="Custom Color 13">
      <a:srgbClr val="436632"/>
    </a:custClr>
    <a:custClr name="Custom Color 14">
      <a:srgbClr val="263970"/>
    </a:custClr>
    <a:custClr name="Custom Color 15">
      <a:srgbClr val="C1A42B"/>
    </a:custClr>
    <a:custClr name="Custom Color 16">
      <a:srgbClr val="983728"/>
    </a:custClr>
    <a:custClr name="Custom Color 17">
      <a:srgbClr val="02736E"/>
    </a:custClr>
    <a:custClr name="BLANK">
      <a:srgbClr val="FFFFFF"/>
    </a:custClr>
    <a:custClr name="BLANK">
      <a:srgbClr val="FFFFFF"/>
    </a:custClr>
    <a:custClr name="BLANK">
      <a:srgbClr val="FFFFFF"/>
    </a:custClr>
    <a:custClr name="Custom Color 21">
      <a:srgbClr val="AB95C7"/>
    </a:custClr>
    <a:custClr name="Custom Color 22">
      <a:srgbClr val="CA8E9E"/>
    </a:custClr>
    <a:custClr name="Custom Color 23">
      <a:srgbClr val="85A977"/>
    </a:custClr>
    <a:custClr name="Custom Color 24">
      <a:srgbClr val="6F8CC7"/>
    </a:custClr>
    <a:custClr name="Custom Color 25">
      <a:srgbClr val="E2CC8F"/>
    </a:custClr>
    <a:custClr name="Custom Color 26">
      <a:srgbClr val="D6A197"/>
    </a:custClr>
    <a:custClr name="Custom Color 27">
      <a:srgbClr val="72ABA3"/>
    </a:custClr>
  </a:custClrLst>
  <a:extLst>
    <a:ext uri="{05A4C25C-085E-4340-85A3-A5531E510DB2}">
      <thm15:themeFamily xmlns:thm15="http://schemas.microsoft.com/office/thememl/2012/main" name="EXTERNAL USE - GSK PowerPoint Artkit with Arial Font.pptx  -  Read-Only" id="{6C2EF023-ED32-4258-9A41-D74CB0EB2024}" vid="{74E7E418-B3D4-4FC7-8097-915CAA602A95}"/>
    </a:ext>
  </a:extLst>
</a:theme>
</file>

<file path=ppt/theme/theme2.xml><?xml version="1.0" encoding="utf-8"?>
<a:theme xmlns:a="http://schemas.openxmlformats.org/drawingml/2006/main" name="Office Theme">
  <a:themeElements>
    <a:clrScheme name="GSK_Template_2022">
      <a:dk1>
        <a:srgbClr val="000000"/>
      </a:dk1>
      <a:lt1>
        <a:sysClr val="window" lastClr="FFFFFF"/>
      </a:lt1>
      <a:dk2>
        <a:srgbClr val="F36633"/>
      </a:dk2>
      <a:lt2>
        <a:srgbClr val="959595"/>
      </a:lt2>
      <a:accent1>
        <a:srgbClr val="6658A6"/>
      </a:accent1>
      <a:accent2>
        <a:srgbClr val="E21860"/>
      </a:accent2>
      <a:accent3>
        <a:srgbClr val="69B445"/>
      </a:accent3>
      <a:accent4>
        <a:srgbClr val="244EA2"/>
      </a:accent4>
      <a:accent5>
        <a:srgbClr val="FFC709"/>
      </a:accent5>
      <a:accent6>
        <a:srgbClr val="DC4133"/>
      </a:accent6>
      <a:hlink>
        <a:srgbClr val="000000"/>
      </a:hlink>
      <a:folHlink>
        <a:srgbClr val="F0EFED"/>
      </a:folHlink>
    </a:clrScheme>
    <a:fontScheme name="Arial">
      <a:majorFont>
        <a:latin typeface="Arial"/>
        <a:ea typeface=""/>
        <a:cs typeface="Arial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rial"/>
        <a:ea typeface=""/>
        <a:cs typeface="Arial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GSK_Template_2022">
      <a:dk1>
        <a:srgbClr val="000000"/>
      </a:dk1>
      <a:lt1>
        <a:sysClr val="window" lastClr="FFFFFF"/>
      </a:lt1>
      <a:dk2>
        <a:srgbClr val="F36633"/>
      </a:dk2>
      <a:lt2>
        <a:srgbClr val="959595"/>
      </a:lt2>
      <a:accent1>
        <a:srgbClr val="6658A6"/>
      </a:accent1>
      <a:accent2>
        <a:srgbClr val="E21860"/>
      </a:accent2>
      <a:accent3>
        <a:srgbClr val="69B445"/>
      </a:accent3>
      <a:accent4>
        <a:srgbClr val="244EA2"/>
      </a:accent4>
      <a:accent5>
        <a:srgbClr val="FFC709"/>
      </a:accent5>
      <a:accent6>
        <a:srgbClr val="DC4133"/>
      </a:accent6>
      <a:hlink>
        <a:srgbClr val="000000"/>
      </a:hlink>
      <a:folHlink>
        <a:srgbClr val="F0EFED"/>
      </a:folHlink>
    </a:clrScheme>
    <a:fontScheme name="Arial">
      <a:majorFont>
        <a:latin typeface="Arial"/>
        <a:ea typeface=""/>
        <a:cs typeface="Arial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rial"/>
        <a:ea typeface=""/>
        <a:cs typeface="Arial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A0FBBF6E9189954BA0FDCD563682A98B" ma:contentTypeVersion="18" ma:contentTypeDescription="Create a new document." ma:contentTypeScope="" ma:versionID="9bdf76aae32a16157cdf99bcf588af46">
  <xsd:schema xmlns:xsd="http://www.w3.org/2001/XMLSchema" xmlns:xs="http://www.w3.org/2001/XMLSchema" xmlns:p="http://schemas.microsoft.com/office/2006/metadata/properties" xmlns:ns2="731989eb-7121-409c-871c-8f2366272918" xmlns:ns3="a5bf85ab-5b89-45d5-812d-d881043611a5" targetNamespace="http://schemas.microsoft.com/office/2006/metadata/properties" ma:root="true" ma:fieldsID="97593d73db6a2b5e524ced3160a40bae" ns2:_="" ns3:_="">
    <xsd:import namespace="731989eb-7121-409c-871c-8f2366272918"/>
    <xsd:import namespace="a5bf85ab-5b89-45d5-812d-d881043611a5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DateTaken" minOccurs="0"/>
                <xsd:element ref="ns3:SharedWithUsers" minOccurs="0"/>
                <xsd:element ref="ns3:SharedWithDetails" minOccurs="0"/>
                <xsd:element ref="ns2:MediaServiceOCR" minOccurs="0"/>
                <xsd:element ref="ns2:MediaServiceLocation" minOccurs="0"/>
                <xsd:element ref="ns2:MediaServiceGenerationTime" minOccurs="0"/>
                <xsd:element ref="ns2:MediaServiceEventHashCode" minOccurs="0"/>
                <xsd:element ref="ns2:MediaServiceAutoKeyPoints" minOccurs="0"/>
                <xsd:element ref="ns2:MediaServiceKeyPoints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SearchProperties" minOccurs="0"/>
                <xsd:element ref="ns2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31989eb-7121-409c-871c-8f2366272918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MediaServiceAutoTags" ma:internalName="MediaServiceAutoTags" ma:readOnly="true">
      <xsd:simpleType>
        <xsd:restriction base="dms:Text"/>
      </xsd:simpleType>
    </xsd:element>
    <xsd:element name="MediaServiceDateTaken" ma:index="11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4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Location" ma:index="15" nillable="true" ma:displayName="Location" ma:internalName="MediaServiceLocation" ma:readOnly="true">
      <xsd:simpleType>
        <xsd:restriction base="dms:Text"/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8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9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0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22" nillable="true" ma:taxonomy="true" ma:internalName="lcf76f155ced4ddcb4097134ff3c332f" ma:taxonomyFieldName="MediaServiceImageTags" ma:displayName="Image Tags" ma:readOnly="false" ma:fieldId="{5cf76f15-5ced-4ddc-b409-7134ff3c332f}" ma:taxonomyMulti="true" ma:sspId="af367377-cea2-4f59-9866-8491a8f07ab9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SearchProperties" ma:index="24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25" nillable="true" ma:displayName="MediaServiceObjectDetectorVersions" ma:description="" ma:hidden="true" ma:indexed="true" ma:internalName="MediaServiceObjectDetectorVersions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5bf85ab-5b89-45d5-812d-d881043611a5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3" nillable="true" ma:displayName="Taxonomy Catch All Column" ma:hidden="true" ma:list="{0018993d-1d16-43cf-b63c-2f328976747f}" ma:internalName="TaxCatchAll" ma:showField="CatchAllData" ma:web="a5bf85ab-5b89-45d5-812d-d881043611a5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731989eb-7121-409c-871c-8f2366272918">
      <Terms xmlns="http://schemas.microsoft.com/office/infopath/2007/PartnerControls"/>
    </lcf76f155ced4ddcb4097134ff3c332f>
    <TaxCatchAll xmlns="a5bf85ab-5b89-45d5-812d-d881043611a5" xsi:nil="true"/>
  </documentManagement>
</p:properties>
</file>

<file path=customXml/itemProps1.xml><?xml version="1.0" encoding="utf-8"?>
<ds:datastoreItem xmlns:ds="http://schemas.openxmlformats.org/officeDocument/2006/customXml" ds:itemID="{611B79B3-E15B-458F-91DF-7EEDA242F08F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75C7F452-23BB-460B-972E-4634A33A029A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731989eb-7121-409c-871c-8f2366272918"/>
    <ds:schemaRef ds:uri="a5bf85ab-5b89-45d5-812d-d881043611a5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B7FC8329-C6F9-417B-AFDE-5E22243E6E66}">
  <ds:schemaRefs>
    <ds:schemaRef ds:uri="http://schemas.openxmlformats.org/package/2006/metadata/core-properties"/>
    <ds:schemaRef ds:uri="http://purl.org/dc/elements/1.1/"/>
    <ds:schemaRef ds:uri="http://schemas.microsoft.com/office/infopath/2007/PartnerControls"/>
    <ds:schemaRef ds:uri="a5bf85ab-5b89-45d5-812d-d881043611a5"/>
    <ds:schemaRef ds:uri="http://purl.org/dc/terms/"/>
    <ds:schemaRef ds:uri="731989eb-7121-409c-871c-8f2366272918"/>
    <ds:schemaRef ds:uri="http://schemas.microsoft.com/office/2006/documentManagement/types"/>
    <ds:schemaRef ds:uri="http://schemas.microsoft.com/office/2006/metadata/properties"/>
    <ds:schemaRef ds:uri="http://www.w3.org/XML/1998/namespace"/>
    <ds:schemaRef ds:uri="http://purl.org/dc/dcmitype/"/>
  </ds:schemaRefs>
</ds:datastoreItem>
</file>

<file path=docMetadata/LabelInfo.xml><?xml version="1.0" encoding="utf-8"?>
<clbl:labelList xmlns:clbl="http://schemas.microsoft.com/office/2020/mipLabelMetadata">
  <clbl:label id="{bea66b2b-af80-48b6-873b-d341d3035cfa}" enabled="1" method="Standard" siteId="{63982aff-fb6c-4c22-973b-70e4acfb63e6}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EXTERNAL USE - GSK PowerPoint Artkit with Arial Font 4.0</Template>
  <TotalTime>582</TotalTime>
  <Words>214</Words>
  <Application>Microsoft Office PowerPoint</Application>
  <PresentationFormat>Widescreen</PresentationFormat>
  <Paragraphs>72</Paragraphs>
  <Slides>1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1</vt:i4>
      </vt:variant>
    </vt:vector>
  </HeadingPairs>
  <TitlesOfParts>
    <vt:vector size="16" baseType="lpstr">
      <vt:lpstr>gsk</vt:lpstr>
      <vt:lpstr>GSK Precision</vt:lpstr>
      <vt:lpstr>Arial</vt:lpstr>
      <vt:lpstr>GSK </vt:lpstr>
      <vt:lpstr>think-cell Slide</vt:lpstr>
      <vt:lpstr>Welcome to Site Korangi </vt:lpstr>
      <vt:lpstr>Efforts made by the site to engage stakeholders and coordinate and support public-sector agencies shall be identified.</vt:lpstr>
      <vt:lpstr>ENGAGEMENT (NESTLE PQF) </vt:lpstr>
      <vt:lpstr>ENGAGEMENT (KATI) </vt:lpstr>
      <vt:lpstr>ENGAGEMENT (SWANO DRY CLEANERS) </vt:lpstr>
      <vt:lpstr>ENGAGEMENT (ARTISTIC GARMENT INDUSTRIES) </vt:lpstr>
      <vt:lpstr>ENGAGEMENT (PAKITEX BOARDS) </vt:lpstr>
      <vt:lpstr>ENGAGEMENT (MANSEHRA COLONY) </vt:lpstr>
      <vt:lpstr>ENGAGEMENTS (SITE ASSOCIATION) 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Ali Hasan</dc:creator>
  <cp:lastModifiedBy>Muhammad Ubaid Qureshi</cp:lastModifiedBy>
  <cp:revision>4</cp:revision>
  <dcterms:created xsi:type="dcterms:W3CDTF">2025-08-25T15:11:24Z</dcterms:created>
  <dcterms:modified xsi:type="dcterms:W3CDTF">2025-09-22T10:39:4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0FBBF6E9189954BA0FDCD563682A98B</vt:lpwstr>
  </property>
  <property fmtid="{D5CDD505-2E9C-101B-9397-08002B2CF9AE}" pid="3" name="MediaServiceImageTags">
    <vt:lpwstr/>
  </property>
  <property fmtid="{D5CDD505-2E9C-101B-9397-08002B2CF9AE}" pid="4" name="ArticulateGUID">
    <vt:lpwstr>15CDE283-B26F-4D28-871F-EAED173C219D</vt:lpwstr>
  </property>
  <property fmtid="{D5CDD505-2E9C-101B-9397-08002B2CF9AE}" pid="5" name="ArticulatePath">
    <vt:lpwstr>Presentation1</vt:lpwstr>
  </property>
  <property fmtid="{D5CDD505-2E9C-101B-9397-08002B2CF9AE}" pid="6" name="MSIP_Label_bea66b2b-af80-48b6-873b-d341d3035cfa_Enabled">
    <vt:lpwstr>true</vt:lpwstr>
  </property>
  <property fmtid="{D5CDD505-2E9C-101B-9397-08002B2CF9AE}" pid="7" name="MSIP_Label_bea66b2b-af80-48b6-873b-d341d3035cfa_SetDate">
    <vt:lpwstr>2024-03-07T15:40:13Z</vt:lpwstr>
  </property>
  <property fmtid="{D5CDD505-2E9C-101B-9397-08002B2CF9AE}" pid="8" name="MSIP_Label_bea66b2b-af80-48b6-873b-d341d3035cfa_Method">
    <vt:lpwstr>Standard</vt:lpwstr>
  </property>
  <property fmtid="{D5CDD505-2E9C-101B-9397-08002B2CF9AE}" pid="9" name="MSIP_Label_bea66b2b-af80-48b6-873b-d341d3035cfa_Name">
    <vt:lpwstr>Proprietary</vt:lpwstr>
  </property>
  <property fmtid="{D5CDD505-2E9C-101B-9397-08002B2CF9AE}" pid="10" name="MSIP_Label_bea66b2b-af80-48b6-873b-d341d3035cfa_SiteId">
    <vt:lpwstr>63982aff-fb6c-4c22-973b-70e4acfb63e6</vt:lpwstr>
  </property>
  <property fmtid="{D5CDD505-2E9C-101B-9397-08002B2CF9AE}" pid="11" name="MSIP_Label_bea66b2b-af80-48b6-873b-d341d3035cfa_ActionId">
    <vt:lpwstr>4d0529a4-ec88-4f2f-a997-079895d13839</vt:lpwstr>
  </property>
  <property fmtid="{D5CDD505-2E9C-101B-9397-08002B2CF9AE}" pid="12" name="MSIP_Label_bea66b2b-af80-48b6-873b-d341d3035cfa_ContentBits">
    <vt:lpwstr>0</vt:lpwstr>
  </property>
</Properties>
</file>